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1" r:id="rId2"/>
    <p:sldMasterId id="2147483723" r:id="rId3"/>
    <p:sldMasterId id="2147483738" r:id="rId4"/>
  </p:sldMasterIdLst>
  <p:notesMasterIdLst>
    <p:notesMasterId r:id="rId28"/>
  </p:notesMasterIdLst>
  <p:sldIdLst>
    <p:sldId id="257" r:id="rId5"/>
    <p:sldId id="2147470184" r:id="rId6"/>
    <p:sldId id="2146847043" r:id="rId7"/>
    <p:sldId id="300" r:id="rId8"/>
    <p:sldId id="2147470223" r:id="rId9"/>
    <p:sldId id="2147470235" r:id="rId10"/>
    <p:sldId id="2147470301" r:id="rId11"/>
    <p:sldId id="2147470304" r:id="rId12"/>
    <p:sldId id="2147470302" r:id="rId13"/>
    <p:sldId id="2147470305" r:id="rId14"/>
    <p:sldId id="2147470303" r:id="rId15"/>
    <p:sldId id="2147470306" r:id="rId16"/>
    <p:sldId id="2147470287" r:id="rId17"/>
    <p:sldId id="2147470233" r:id="rId18"/>
    <p:sldId id="2147470307" r:id="rId19"/>
    <p:sldId id="2147470244" r:id="rId20"/>
    <p:sldId id="2147470228" r:id="rId21"/>
    <p:sldId id="2147470227" r:id="rId22"/>
    <p:sldId id="2147470226" r:id="rId23"/>
    <p:sldId id="2147470224" r:id="rId24"/>
    <p:sldId id="2147470252" r:id="rId25"/>
    <p:sldId id="2147470237" r:id="rId26"/>
    <p:sldId id="2147374605" r:id="rId27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4A5B777-9B84-4988-B3DD-3B608274DF87}">
          <p14:sldIdLst>
            <p14:sldId id="257"/>
            <p14:sldId id="2147470184"/>
            <p14:sldId id="2146847043"/>
            <p14:sldId id="300"/>
            <p14:sldId id="2147470223"/>
            <p14:sldId id="2147470235"/>
            <p14:sldId id="2147470301"/>
            <p14:sldId id="2147470304"/>
            <p14:sldId id="2147470302"/>
            <p14:sldId id="2147470305"/>
            <p14:sldId id="2147470303"/>
            <p14:sldId id="2147470306"/>
            <p14:sldId id="2147470287"/>
            <p14:sldId id="2147470233"/>
            <p14:sldId id="2147470307"/>
            <p14:sldId id="2147470244"/>
            <p14:sldId id="2147470228"/>
            <p14:sldId id="2147470227"/>
            <p14:sldId id="2147470226"/>
            <p14:sldId id="2147470224"/>
            <p14:sldId id="2147470252"/>
          </p14:sldIdLst>
        </p14:section>
        <p14:section name="Teste Multicluster" id="{5C627118-ABA7-4617-AC3B-978F7BDC5C1B}">
          <p14:sldIdLst>
            <p14:sldId id="2147470237"/>
            <p14:sldId id="2147374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AA91581-15BE-4EFF-B1B4-63C16D64E394}" v="14" dt="2025-09-05T12:25:37.6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30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888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Zanetti de Almeida" userId="129d4ce6-e715-4d33-b4c4-312f1656225b" providerId="ADAL" clId="{DAA91581-15BE-4EFF-B1B4-63C16D64E394}"/>
    <pc:docChg chg="undo redo custSel modSld">
      <pc:chgData name="Alexandre Zanetti de Almeida" userId="129d4ce6-e715-4d33-b4c4-312f1656225b" providerId="ADAL" clId="{DAA91581-15BE-4EFF-B1B4-63C16D64E394}" dt="2025-09-05T12:25:37.603" v="145"/>
      <pc:docMkLst>
        <pc:docMk/>
      </pc:docMkLst>
      <pc:sldChg chg="modSp mod">
        <pc:chgData name="Alexandre Zanetti de Almeida" userId="129d4ce6-e715-4d33-b4c4-312f1656225b" providerId="ADAL" clId="{DAA91581-15BE-4EFF-B1B4-63C16D64E394}" dt="2025-09-05T12:23:53.394" v="50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DAA91581-15BE-4EFF-B1B4-63C16D64E394}" dt="2025-09-05T12:23:53.394" v="50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DAA91581-15BE-4EFF-B1B4-63C16D64E394}" dt="2025-09-05T12:25:01.707" v="133" actId="6549"/>
        <pc:sldMkLst>
          <pc:docMk/>
          <pc:sldMk cId="1940508740" sldId="2147470304"/>
        </pc:sldMkLst>
        <pc:spChg chg="mod">
          <ac:chgData name="Alexandre Zanetti de Almeida" userId="129d4ce6-e715-4d33-b4c4-312f1656225b" providerId="ADAL" clId="{DAA91581-15BE-4EFF-B1B4-63C16D64E394}" dt="2025-09-05T12:24:30.199" v="62" actId="20577"/>
          <ac:spMkLst>
            <pc:docMk/>
            <pc:sldMk cId="1940508740" sldId="2147470304"/>
            <ac:spMk id="16" creationId="{EC4455BA-D3E9-9793-68CD-C3583A4E6304}"/>
          </ac:spMkLst>
        </pc:spChg>
        <pc:spChg chg="mod">
          <ac:chgData name="Alexandre Zanetti de Almeida" userId="129d4ce6-e715-4d33-b4c4-312f1656225b" providerId="ADAL" clId="{DAA91581-15BE-4EFF-B1B4-63C16D64E394}" dt="2025-08-27T11:46:31.888" v="8" actId="20577"/>
          <ac:spMkLst>
            <pc:docMk/>
            <pc:sldMk cId="1940508740" sldId="2147470304"/>
            <ac:spMk id="22" creationId="{7E22B0EB-5D24-34FE-BC08-2E5A9B6E10FD}"/>
          </ac:spMkLst>
        </pc:spChg>
        <pc:spChg chg="mod">
          <ac:chgData name="Alexandre Zanetti de Almeida" userId="129d4ce6-e715-4d33-b4c4-312f1656225b" providerId="ADAL" clId="{DAA91581-15BE-4EFF-B1B4-63C16D64E394}" dt="2025-09-05T12:25:01.707" v="133" actId="6549"/>
          <ac:spMkLst>
            <pc:docMk/>
            <pc:sldMk cId="1940508740" sldId="2147470304"/>
            <ac:spMk id="23" creationId="{3399BC71-F48A-62FF-1FC5-6A7E292DA2C6}"/>
          </ac:spMkLst>
        </pc:spChg>
      </pc:sldChg>
      <pc:sldChg chg="modSp mod">
        <pc:chgData name="Alexandre Zanetti de Almeida" userId="129d4ce6-e715-4d33-b4c4-312f1656225b" providerId="ADAL" clId="{DAA91581-15BE-4EFF-B1B4-63C16D64E394}" dt="2025-09-05T12:25:27.521" v="140" actId="6549"/>
        <pc:sldMkLst>
          <pc:docMk/>
          <pc:sldMk cId="666269910" sldId="2147470305"/>
        </pc:sldMkLst>
        <pc:spChg chg="mod">
          <ac:chgData name="Alexandre Zanetti de Almeida" userId="129d4ce6-e715-4d33-b4c4-312f1656225b" providerId="ADAL" clId="{DAA91581-15BE-4EFF-B1B4-63C16D64E394}" dt="2025-09-05T12:25:27.521" v="140" actId="6549"/>
          <ac:spMkLst>
            <pc:docMk/>
            <pc:sldMk cId="666269910" sldId="2147470305"/>
            <ac:spMk id="16" creationId="{E22DBF5B-D60A-683E-6EEC-8AA9185B7D62}"/>
          </ac:spMkLst>
        </pc:spChg>
      </pc:sldChg>
      <pc:sldChg chg="modSp mod">
        <pc:chgData name="Alexandre Zanetti de Almeida" userId="129d4ce6-e715-4d33-b4c4-312f1656225b" providerId="ADAL" clId="{DAA91581-15BE-4EFF-B1B4-63C16D64E394}" dt="2025-09-05T12:25:37.603" v="145"/>
        <pc:sldMkLst>
          <pc:docMk/>
          <pc:sldMk cId="2230261567" sldId="2147470306"/>
        </pc:sldMkLst>
        <pc:spChg chg="mod">
          <ac:chgData name="Alexandre Zanetti de Almeida" userId="129d4ce6-e715-4d33-b4c4-312f1656225b" providerId="ADAL" clId="{DAA91581-15BE-4EFF-B1B4-63C16D64E394}" dt="2025-09-05T12:25:37.603" v="145"/>
          <ac:spMkLst>
            <pc:docMk/>
            <pc:sldMk cId="2230261567" sldId="2147470306"/>
            <ac:spMk id="16" creationId="{BC28EA8F-0B64-5CFD-35E7-8571FA4E816E}"/>
          </ac:spMkLst>
        </pc:spChg>
      </pc:sldChg>
    </pc:docChg>
  </pc:docChgLst>
  <pc:docChgLst>
    <pc:chgData name="Alexandre Zanetti de Almeida" userId="129d4ce6-e715-4d33-b4c4-312f1656225b" providerId="ADAL" clId="{CB4A5929-CD66-40A2-A9E2-11FC22D64308}"/>
    <pc:docChg chg="undo custSel modSld">
      <pc:chgData name="Alexandre Zanetti de Almeida" userId="129d4ce6-e715-4d33-b4c4-312f1656225b" providerId="ADAL" clId="{CB4A5929-CD66-40A2-A9E2-11FC22D64308}" dt="2025-08-19T12:48:45.062" v="331"/>
      <pc:docMkLst>
        <pc:docMk/>
      </pc:docMkLst>
      <pc:sldChg chg="modSp mod">
        <pc:chgData name="Alexandre Zanetti de Almeida" userId="129d4ce6-e715-4d33-b4c4-312f1656225b" providerId="ADAL" clId="{CB4A5929-CD66-40A2-A9E2-11FC22D64308}" dt="2025-08-19T12:48:32.729" v="329" actId="6549"/>
        <pc:sldMkLst>
          <pc:docMk/>
          <pc:sldMk cId="1940508740" sldId="2147470304"/>
        </pc:sldMkLst>
        <pc:spChg chg="mod">
          <ac:chgData name="Alexandre Zanetti de Almeida" userId="129d4ce6-e715-4d33-b4c4-312f1656225b" providerId="ADAL" clId="{CB4A5929-CD66-40A2-A9E2-11FC22D64308}" dt="2025-08-19T12:44:46.540" v="76" actId="6549"/>
          <ac:spMkLst>
            <pc:docMk/>
            <pc:sldMk cId="1940508740" sldId="2147470304"/>
            <ac:spMk id="21" creationId="{97F45830-8E04-1A06-389C-4A5003A45C7F}"/>
          </ac:spMkLst>
        </pc:spChg>
        <pc:spChg chg="mod">
          <ac:chgData name="Alexandre Zanetti de Almeida" userId="129d4ce6-e715-4d33-b4c4-312f1656225b" providerId="ADAL" clId="{CB4A5929-CD66-40A2-A9E2-11FC22D64308}" dt="2025-08-19T12:48:32.729" v="329" actId="6549"/>
          <ac:spMkLst>
            <pc:docMk/>
            <pc:sldMk cId="1940508740" sldId="2147470304"/>
            <ac:spMk id="22" creationId="{7E22B0EB-5D24-34FE-BC08-2E5A9B6E10FD}"/>
          </ac:spMkLst>
        </pc:spChg>
      </pc:sldChg>
      <pc:sldChg chg="modSp">
        <pc:chgData name="Alexandre Zanetti de Almeida" userId="129d4ce6-e715-4d33-b4c4-312f1656225b" providerId="ADAL" clId="{CB4A5929-CD66-40A2-A9E2-11FC22D64308}" dt="2025-08-19T12:48:41.231" v="330"/>
        <pc:sldMkLst>
          <pc:docMk/>
          <pc:sldMk cId="666269910" sldId="2147470305"/>
        </pc:sldMkLst>
        <pc:spChg chg="mod">
          <ac:chgData name="Alexandre Zanetti de Almeida" userId="129d4ce6-e715-4d33-b4c4-312f1656225b" providerId="ADAL" clId="{CB4A5929-CD66-40A2-A9E2-11FC22D64308}" dt="2025-08-19T12:48:41.231" v="330"/>
          <ac:spMkLst>
            <pc:docMk/>
            <pc:sldMk cId="666269910" sldId="2147470305"/>
            <ac:spMk id="50" creationId="{6105204D-BA0B-72FD-2BE4-90C13A8363AA}"/>
          </ac:spMkLst>
        </pc:spChg>
      </pc:sldChg>
      <pc:sldChg chg="modSp">
        <pc:chgData name="Alexandre Zanetti de Almeida" userId="129d4ce6-e715-4d33-b4c4-312f1656225b" providerId="ADAL" clId="{CB4A5929-CD66-40A2-A9E2-11FC22D64308}" dt="2025-08-19T12:48:45.062" v="331"/>
        <pc:sldMkLst>
          <pc:docMk/>
          <pc:sldMk cId="2230261567" sldId="2147470306"/>
        </pc:sldMkLst>
        <pc:spChg chg="mod">
          <ac:chgData name="Alexandre Zanetti de Almeida" userId="129d4ce6-e715-4d33-b4c4-312f1656225b" providerId="ADAL" clId="{CB4A5929-CD66-40A2-A9E2-11FC22D64308}" dt="2025-08-19T12:48:45.062" v="331"/>
          <ac:spMkLst>
            <pc:docMk/>
            <pc:sldMk cId="2230261567" sldId="2147470306"/>
            <ac:spMk id="13" creationId="{4D54B93D-E70C-11A6-3E95-3C2DA3641534}"/>
          </ac:spMkLst>
        </pc:spChg>
      </pc:sldChg>
    </pc:docChg>
  </pc:docChgLst>
  <pc:docChgLst>
    <pc:chgData name="Alexandre Zanetti de Almeida" userId="129d4ce6-e715-4d33-b4c4-312f1656225b" providerId="ADAL" clId="{BECA18A6-594E-4578-8AB9-5C690EC3EA32}"/>
    <pc:docChg chg="undo redo custSel addSld delSld modSld sldOrd modSection">
      <pc:chgData name="Alexandre Zanetti de Almeida" userId="129d4ce6-e715-4d33-b4c4-312f1656225b" providerId="ADAL" clId="{BECA18A6-594E-4578-8AB9-5C690EC3EA32}" dt="2025-07-24T10:57:59.141" v="2479"/>
      <pc:docMkLst>
        <pc:docMk/>
      </pc:docMkLst>
      <pc:sldChg chg="modSp mod">
        <pc:chgData name="Alexandre Zanetti de Almeida" userId="129d4ce6-e715-4d33-b4c4-312f1656225b" providerId="ADAL" clId="{BECA18A6-594E-4578-8AB9-5C690EC3EA32}" dt="2025-07-23T10:53:15.585" v="1880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BECA18A6-594E-4578-8AB9-5C690EC3EA32}" dt="2025-07-23T10:53:15.585" v="1880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addSp delSp modSp mod ord delAnim modAnim">
        <pc:chgData name="Alexandre Zanetti de Almeida" userId="129d4ce6-e715-4d33-b4c4-312f1656225b" providerId="ADAL" clId="{BECA18A6-594E-4578-8AB9-5C690EC3EA32}" dt="2025-07-24T10:57:59.141" v="2479"/>
        <pc:sldMkLst>
          <pc:docMk/>
          <pc:sldMk cId="3918225123" sldId="2147470233"/>
        </pc:sldMkLst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0" creationId="{04738240-91FB-7AF4-F9C0-CD69A859EF4C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1" creationId="{45F9EBC2-F1B7-B4DB-EBE2-1011D1E7008B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3" creationId="{26CEAF40-FBCE-78D2-2B72-2CD4DF0CAB0A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4" creationId="{EFAFA16E-76FF-DCF0-5F29-9A0716AE1F83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6" creationId="{33F06668-E22E-1CA6-9FDA-1F2D6722DBF5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8" creationId="{4E39C61B-8C2F-A007-FF32-59E06D5C204F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9" creationId="{300C61E6-3B9B-F878-C732-6E9F00CD6FC0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20" creationId="{0A647C99-AC79-FF8F-AD87-ADED38591E5C}"/>
          </ac:spMkLst>
        </pc:spChg>
        <pc:spChg chg="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26" creationId="{59AC44EF-8808-9CAA-DFF2-C01BBC7BCC05}"/>
          </ac:spMkLst>
        </pc:spChg>
        <pc:spChg chg="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28" creationId="{872A1A97-648C-052C-E2C3-4BF4920E755E}"/>
          </ac:spMkLst>
        </pc:spChg>
      </pc:sldChg>
      <pc:sldChg chg="del">
        <pc:chgData name="Alexandre Zanetti de Almeida" userId="129d4ce6-e715-4d33-b4c4-312f1656225b" providerId="ADAL" clId="{BECA18A6-594E-4578-8AB9-5C690EC3EA32}" dt="2025-06-30T14:13:48.061" v="1065" actId="47"/>
        <pc:sldMkLst>
          <pc:docMk/>
          <pc:sldMk cId="1880917490" sldId="2147470250"/>
        </pc:sldMkLst>
      </pc:sldChg>
      <pc:sldChg chg="del">
        <pc:chgData name="Alexandre Zanetti de Almeida" userId="129d4ce6-e715-4d33-b4c4-312f1656225b" providerId="ADAL" clId="{BECA18A6-594E-4578-8AB9-5C690EC3EA32}" dt="2025-06-30T14:13:48.657" v="1066" actId="47"/>
        <pc:sldMkLst>
          <pc:docMk/>
          <pc:sldMk cId="4272279068" sldId="2147470251"/>
        </pc:sldMkLst>
      </pc:sldChg>
      <pc:sldChg chg="del">
        <pc:chgData name="Alexandre Zanetti de Almeida" userId="129d4ce6-e715-4d33-b4c4-312f1656225b" providerId="ADAL" clId="{BECA18A6-594E-4578-8AB9-5C690EC3EA32}" dt="2025-06-18T11:50:54.900" v="8" actId="47"/>
        <pc:sldMkLst>
          <pc:docMk/>
          <pc:sldMk cId="1080730617" sldId="2147470284"/>
        </pc:sldMkLst>
      </pc:sldChg>
      <pc:sldChg chg="addSp modSp del mod">
        <pc:chgData name="Alexandre Zanetti de Almeida" userId="129d4ce6-e715-4d33-b4c4-312f1656225b" providerId="ADAL" clId="{BECA18A6-594E-4578-8AB9-5C690EC3EA32}" dt="2025-06-27T18:21:45.926" v="867" actId="47"/>
        <pc:sldMkLst>
          <pc:docMk/>
          <pc:sldMk cId="4262446273" sldId="2147470285"/>
        </pc:sldMkLst>
      </pc:sldChg>
      <pc:sldChg chg="del">
        <pc:chgData name="Alexandre Zanetti de Almeida" userId="129d4ce6-e715-4d33-b4c4-312f1656225b" providerId="ADAL" clId="{BECA18A6-594E-4578-8AB9-5C690EC3EA32}" dt="2025-06-18T11:50:57.973" v="9" actId="47"/>
        <pc:sldMkLst>
          <pc:docMk/>
          <pc:sldMk cId="3886147896" sldId="2147470286"/>
        </pc:sldMkLst>
      </pc:sldChg>
      <pc:sldChg chg="ord">
        <pc:chgData name="Alexandre Zanetti de Almeida" userId="129d4ce6-e715-4d33-b4c4-312f1656225b" providerId="ADAL" clId="{BECA18A6-594E-4578-8AB9-5C690EC3EA32}" dt="2025-07-24T10:56:48.254" v="2476" actId="20578"/>
        <pc:sldMkLst>
          <pc:docMk/>
          <pc:sldMk cId="3456330198" sldId="2147470287"/>
        </pc:sldMkLst>
      </pc:sldChg>
      <pc:sldChg chg="del">
        <pc:chgData name="Alexandre Zanetti de Almeida" userId="129d4ce6-e715-4d33-b4c4-312f1656225b" providerId="ADAL" clId="{BECA18A6-594E-4578-8AB9-5C690EC3EA32}" dt="2025-06-18T11:51:00.904" v="10" actId="47"/>
        <pc:sldMkLst>
          <pc:docMk/>
          <pc:sldMk cId="3779101396" sldId="2147470290"/>
        </pc:sldMkLst>
      </pc:sldChg>
      <pc:sldChg chg="modSp del mod">
        <pc:chgData name="Alexandre Zanetti de Almeida" userId="129d4ce6-e715-4d33-b4c4-312f1656225b" providerId="ADAL" clId="{BECA18A6-594E-4578-8AB9-5C690EC3EA32}" dt="2025-06-18T11:52:49.325" v="29" actId="47"/>
        <pc:sldMkLst>
          <pc:docMk/>
          <pc:sldMk cId="2942458670" sldId="2147470291"/>
        </pc:sldMkLst>
      </pc:sldChg>
      <pc:sldChg chg="del">
        <pc:chgData name="Alexandre Zanetti de Almeida" userId="129d4ce6-e715-4d33-b4c4-312f1656225b" providerId="ADAL" clId="{BECA18A6-594E-4578-8AB9-5C690EC3EA32}" dt="2025-06-18T11:51:01.947" v="11" actId="47"/>
        <pc:sldMkLst>
          <pc:docMk/>
          <pc:sldMk cId="735740456" sldId="2147470292"/>
        </pc:sldMkLst>
      </pc:sldChg>
      <pc:sldChg chg="addSp modSp del mod">
        <pc:chgData name="Alexandre Zanetti de Almeida" userId="129d4ce6-e715-4d33-b4c4-312f1656225b" providerId="ADAL" clId="{BECA18A6-594E-4578-8AB9-5C690EC3EA32}" dt="2025-06-27T18:24:05.584" v="951" actId="47"/>
        <pc:sldMkLst>
          <pc:docMk/>
          <pc:sldMk cId="3951554011" sldId="2147470293"/>
        </pc:sldMkLst>
      </pc:sldChg>
      <pc:sldChg chg="del">
        <pc:chgData name="Alexandre Zanetti de Almeida" userId="129d4ce6-e715-4d33-b4c4-312f1656225b" providerId="ADAL" clId="{BECA18A6-594E-4578-8AB9-5C690EC3EA32}" dt="2025-06-18T11:51:07.247" v="12" actId="47"/>
        <pc:sldMkLst>
          <pc:docMk/>
          <pc:sldMk cId="3275488672" sldId="2147470294"/>
        </pc:sldMkLst>
      </pc:sldChg>
      <pc:sldChg chg="del">
        <pc:chgData name="Alexandre Zanetti de Almeida" userId="129d4ce6-e715-4d33-b4c4-312f1656225b" providerId="ADAL" clId="{BECA18A6-594E-4578-8AB9-5C690EC3EA32}" dt="2025-06-18T11:51:08.556" v="13" actId="47"/>
        <pc:sldMkLst>
          <pc:docMk/>
          <pc:sldMk cId="538638572" sldId="2147470297"/>
        </pc:sldMkLst>
      </pc:sldChg>
      <pc:sldChg chg="addSp modSp del mod">
        <pc:chgData name="Alexandre Zanetti de Almeida" userId="129d4ce6-e715-4d33-b4c4-312f1656225b" providerId="ADAL" clId="{BECA18A6-594E-4578-8AB9-5C690EC3EA32}" dt="2025-06-30T14:13:42.474" v="1064" actId="47"/>
        <pc:sldMkLst>
          <pc:docMk/>
          <pc:sldMk cId="155112765" sldId="2147470298"/>
        </pc:sldMkLst>
      </pc:sldChg>
      <pc:sldChg chg="addSp delSp modSp new del mod">
        <pc:chgData name="Alexandre Zanetti de Almeida" userId="129d4ce6-e715-4d33-b4c4-312f1656225b" providerId="ADAL" clId="{BECA18A6-594E-4578-8AB9-5C690EC3EA32}" dt="2025-06-20T13:57:50.820" v="572" actId="47"/>
        <pc:sldMkLst>
          <pc:docMk/>
          <pc:sldMk cId="1621631840" sldId="2147470299"/>
        </pc:sldMkLst>
      </pc:sldChg>
      <pc:sldChg chg="addSp delSp modSp add del mod">
        <pc:chgData name="Alexandre Zanetti de Almeida" userId="129d4ce6-e715-4d33-b4c4-312f1656225b" providerId="ADAL" clId="{BECA18A6-594E-4578-8AB9-5C690EC3EA32}" dt="2025-06-27T18:21:49.721" v="868" actId="47"/>
        <pc:sldMkLst>
          <pc:docMk/>
          <pc:sldMk cId="2032801713" sldId="2147470300"/>
        </pc:sldMkLst>
      </pc:sldChg>
      <pc:sldChg chg="addSp delSp modSp add mod modShow">
        <pc:chgData name="Alexandre Zanetti de Almeida" userId="129d4ce6-e715-4d33-b4c4-312f1656225b" providerId="ADAL" clId="{BECA18A6-594E-4578-8AB9-5C690EC3EA32}" dt="2025-07-03T11:26:55.858" v="1876" actId="20577"/>
        <pc:sldMkLst>
          <pc:docMk/>
          <pc:sldMk cId="1632712217" sldId="2147470301"/>
        </pc:sldMkLst>
        <pc:spChg chg="add 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8" creationId="{6C5CB6E1-38D5-CEC7-8511-34A9F0C6DCC1}"/>
          </ac:spMkLst>
        </pc:spChg>
        <pc:spChg chg="mod">
          <ac:chgData name="Alexandre Zanetti de Almeida" userId="129d4ce6-e715-4d33-b4c4-312f1656225b" providerId="ADAL" clId="{BECA18A6-594E-4578-8AB9-5C690EC3EA32}" dt="2025-06-27T18:20:49.688" v="814" actId="20577"/>
          <ac:spMkLst>
            <pc:docMk/>
            <pc:sldMk cId="1632712217" sldId="2147470301"/>
            <ac:spMk id="12" creationId="{89CFBADE-4F12-2255-C97C-4E5F41B0F1FA}"/>
          </ac:spMkLst>
        </pc:spChg>
        <pc:spChg chg="add 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14" creationId="{7FADDCB5-60D6-6865-09F6-FFF0A5B3D429}"/>
          </ac:spMkLst>
        </pc:spChg>
        <pc:spChg chg="mod">
          <ac:chgData name="Alexandre Zanetti de Almeida" userId="129d4ce6-e715-4d33-b4c4-312f1656225b" providerId="ADAL" clId="{BECA18A6-594E-4578-8AB9-5C690EC3EA32}" dt="2025-06-27T18:22:39.976" v="877" actId="6549"/>
          <ac:spMkLst>
            <pc:docMk/>
            <pc:sldMk cId="1632712217" sldId="2147470301"/>
            <ac:spMk id="16" creationId="{0C6A6F76-9013-0250-F386-12A5D2EC7B12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19" creationId="{E16AF86A-B303-4AB6-D177-9A57CDB0A5E0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1" creationId="{8FF9D7EA-81F4-64DD-26DC-4F6E7916CA4F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2" creationId="{3EDC0651-03BE-805B-434D-0020D8C8555C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3" creationId="{9BFEAA66-8CBA-15AE-C843-2D1A0AAA517D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27" creationId="{7BCE7D54-F669-0DBD-5827-36321CD907A1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8" creationId="{CD57396B-887C-5CE1-F40E-D6F0F3E57C8D}"/>
          </ac:spMkLst>
        </pc:spChg>
        <pc:spChg chg="mod">
          <ac:chgData name="Alexandre Zanetti de Almeida" userId="129d4ce6-e715-4d33-b4c4-312f1656225b" providerId="ADAL" clId="{BECA18A6-594E-4578-8AB9-5C690EC3EA32}" dt="2025-06-27T18:21:07.280" v="818"/>
          <ac:spMkLst>
            <pc:docMk/>
            <pc:sldMk cId="1632712217" sldId="2147470301"/>
            <ac:spMk id="29" creationId="{DCC9B0EE-7ECC-4459-69CF-DF31F5E465A9}"/>
          </ac:spMkLst>
        </pc:spChg>
        <pc:spChg chg="mod">
          <ac:chgData name="Alexandre Zanetti de Almeida" userId="129d4ce6-e715-4d33-b4c4-312f1656225b" providerId="ADAL" clId="{BECA18A6-594E-4578-8AB9-5C690EC3EA32}" dt="2025-07-03T11:26:55.858" v="1876" actId="20577"/>
          <ac:spMkLst>
            <pc:docMk/>
            <pc:sldMk cId="1632712217" sldId="2147470301"/>
            <ac:spMk id="30" creationId="{D303E229-5125-C25F-1E8B-B6E4FC0DD90C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36" creationId="{F564EAC3-5ACF-9A9B-9AC0-7EAC1CFDF5B0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37" creationId="{65EE4F8D-FB4F-3880-4AA2-98A9581B7211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42" creationId="{4E060F5B-14C4-795F-78CD-D4687F64C571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47" creationId="{B1D795D6-DC47-E0E3-FC27-F509DBE461D3}"/>
          </ac:spMkLst>
        </pc:spChg>
      </pc:sldChg>
      <pc:sldChg chg="addSp delSp modSp add mod modShow">
        <pc:chgData name="Alexandre Zanetti de Almeida" userId="129d4ce6-e715-4d33-b4c4-312f1656225b" providerId="ADAL" clId="{BECA18A6-594E-4578-8AB9-5C690EC3EA32}" dt="2025-07-02T11:37:43.090" v="1139" actId="729"/>
        <pc:sldMkLst>
          <pc:docMk/>
          <pc:sldMk cId="1783460189" sldId="2147470302"/>
        </pc:sldMkLst>
        <pc:spChg chg="mod">
          <ac:chgData name="Alexandre Zanetti de Almeida" userId="129d4ce6-e715-4d33-b4c4-312f1656225b" providerId="ADAL" clId="{BECA18A6-594E-4578-8AB9-5C690EC3EA32}" dt="2025-06-27T18:22:16.724" v="873" actId="1076"/>
          <ac:spMkLst>
            <pc:docMk/>
            <pc:sldMk cId="1783460189" sldId="2147470302"/>
            <ac:spMk id="4" creationId="{9E4DDB46-213F-F41B-E5FF-ABFE3CAC1B49}"/>
          </ac:spMkLst>
        </pc:spChg>
        <pc:spChg chg="mod">
          <ac:chgData name="Alexandre Zanetti de Almeida" userId="129d4ce6-e715-4d33-b4c4-312f1656225b" providerId="ADAL" clId="{BECA18A6-594E-4578-8AB9-5C690EC3EA32}" dt="2025-06-27T18:22:54.282" v="881" actId="6549"/>
          <ac:spMkLst>
            <pc:docMk/>
            <pc:sldMk cId="1783460189" sldId="2147470302"/>
            <ac:spMk id="16" creationId="{52946977-0670-DC65-C382-6C5732031F4D}"/>
          </ac:spMkLst>
        </pc:spChg>
        <pc:spChg chg="mod">
          <ac:chgData name="Alexandre Zanetti de Almeida" userId="129d4ce6-e715-4d33-b4c4-312f1656225b" providerId="ADAL" clId="{BECA18A6-594E-4578-8AB9-5C690EC3EA32}" dt="2025-06-27T18:23:58.509" v="950" actId="20577"/>
          <ac:spMkLst>
            <pc:docMk/>
            <pc:sldMk cId="1783460189" sldId="2147470302"/>
            <ac:spMk id="23" creationId="{B5FF8776-0410-62F1-C55C-183C1CE90858}"/>
          </ac:spMkLst>
        </pc:spChg>
        <pc:spChg chg="mod">
          <ac:chgData name="Alexandre Zanetti de Almeida" userId="129d4ce6-e715-4d33-b4c4-312f1656225b" providerId="ADAL" clId="{BECA18A6-594E-4578-8AB9-5C690EC3EA32}" dt="2025-06-27T18:23:02.889" v="882"/>
          <ac:spMkLst>
            <pc:docMk/>
            <pc:sldMk cId="1783460189" sldId="2147470302"/>
            <ac:spMk id="28" creationId="{B5AF40AB-C85E-DC84-088C-57F6164E4E0E}"/>
          </ac:spMkLst>
        </pc:spChg>
        <pc:spChg chg="mod">
          <ac:chgData name="Alexandre Zanetti de Almeida" userId="129d4ce6-e715-4d33-b4c4-312f1656225b" providerId="ADAL" clId="{BECA18A6-594E-4578-8AB9-5C690EC3EA32}" dt="2025-06-27T18:23:17.496" v="884"/>
          <ac:spMkLst>
            <pc:docMk/>
            <pc:sldMk cId="1783460189" sldId="2147470302"/>
            <ac:spMk id="29" creationId="{8D1C2D31-6EDA-F9C4-4D41-BC53CF761157}"/>
          </ac:spMkLst>
        </pc:spChg>
        <pc:spChg chg="mod">
          <ac:chgData name="Alexandre Zanetti de Almeida" userId="129d4ce6-e715-4d33-b4c4-312f1656225b" providerId="ADAL" clId="{BECA18A6-594E-4578-8AB9-5C690EC3EA32}" dt="2025-06-27T18:23:43.409" v="941" actId="5793"/>
          <ac:spMkLst>
            <pc:docMk/>
            <pc:sldMk cId="1783460189" sldId="2147470302"/>
            <ac:spMk id="30" creationId="{88DDE1F4-BABB-6CE9-1778-428C4D71E43D}"/>
          </ac:spMkLst>
        </pc:spChg>
        <pc:grpChg chg="add mod">
          <ac:chgData name="Alexandre Zanetti de Almeida" userId="129d4ce6-e715-4d33-b4c4-312f1656225b" providerId="ADAL" clId="{BECA18A6-594E-4578-8AB9-5C690EC3EA32}" dt="2025-06-27T18:22:16.724" v="873" actId="1076"/>
          <ac:grpSpMkLst>
            <pc:docMk/>
            <pc:sldMk cId="1783460189" sldId="2147470302"/>
            <ac:grpSpMk id="3" creationId="{4CDFB589-D84B-A12D-92D1-2619810775BD}"/>
          </ac:grpSpMkLst>
        </pc:grpChg>
        <pc:picChg chg="mod">
          <ac:chgData name="Alexandre Zanetti de Almeida" userId="129d4ce6-e715-4d33-b4c4-312f1656225b" providerId="ADAL" clId="{BECA18A6-594E-4578-8AB9-5C690EC3EA32}" dt="2025-06-27T18:22:16.724" v="873" actId="1076"/>
          <ac:picMkLst>
            <pc:docMk/>
            <pc:sldMk cId="1783460189" sldId="2147470302"/>
            <ac:picMk id="6" creationId="{0C47D69E-898D-4C93-B50B-1863B5506A8C}"/>
          </ac:picMkLst>
        </pc:picChg>
      </pc:sldChg>
      <pc:sldChg chg="addSp delSp modSp add mod modShow">
        <pc:chgData name="Alexandre Zanetti de Almeida" userId="129d4ce6-e715-4d33-b4c4-312f1656225b" providerId="ADAL" clId="{BECA18A6-594E-4578-8AB9-5C690EC3EA32}" dt="2025-07-02T11:37:43.090" v="1139" actId="729"/>
        <pc:sldMkLst>
          <pc:docMk/>
          <pc:sldMk cId="3660087686" sldId="2147470303"/>
        </pc:sldMkLst>
        <pc:spChg chg="mod">
          <ac:chgData name="Alexandre Zanetti de Almeida" userId="129d4ce6-e715-4d33-b4c4-312f1656225b" providerId="ADAL" clId="{BECA18A6-594E-4578-8AB9-5C690EC3EA32}" dt="2025-06-30T14:13:36.988" v="1063" actId="6549"/>
          <ac:spMkLst>
            <pc:docMk/>
            <pc:sldMk cId="3660087686" sldId="2147470303"/>
            <ac:spMk id="12" creationId="{CDB95CB9-17E2-12E9-6CDB-21E389A7B5D2}"/>
          </ac:spMkLst>
        </pc:spChg>
        <pc:spChg chg="mod">
          <ac:chgData name="Alexandre Zanetti de Almeida" userId="129d4ce6-e715-4d33-b4c4-312f1656225b" providerId="ADAL" clId="{BECA18A6-594E-4578-8AB9-5C690EC3EA32}" dt="2025-06-30T14:10:28.359" v="1008" actId="20577"/>
          <ac:spMkLst>
            <pc:docMk/>
            <pc:sldMk cId="3660087686" sldId="2147470303"/>
            <ac:spMk id="16" creationId="{2D3E6C24-C600-EDF5-FE96-CC9CA4E0660D}"/>
          </ac:spMkLst>
        </pc:spChg>
        <pc:spChg chg="mod">
          <ac:chgData name="Alexandre Zanetti de Almeida" userId="129d4ce6-e715-4d33-b4c4-312f1656225b" providerId="ADAL" clId="{BECA18A6-594E-4578-8AB9-5C690EC3EA32}" dt="2025-06-30T14:11:34.816" v="1027"/>
          <ac:spMkLst>
            <pc:docMk/>
            <pc:sldMk cId="3660087686" sldId="2147470303"/>
            <ac:spMk id="21" creationId="{47D183D6-A530-5278-BEA3-F43FF8BE8ECF}"/>
          </ac:spMkLst>
        </pc:spChg>
        <pc:spChg chg="mod">
          <ac:chgData name="Alexandre Zanetti de Almeida" userId="129d4ce6-e715-4d33-b4c4-312f1656225b" providerId="ADAL" clId="{BECA18A6-594E-4578-8AB9-5C690EC3EA32}" dt="2025-06-30T14:11:25.378" v="1020" actId="6549"/>
          <ac:spMkLst>
            <pc:docMk/>
            <pc:sldMk cId="3660087686" sldId="2147470303"/>
            <ac:spMk id="22" creationId="{BAD4C948-5468-221D-166A-CD899DB564DE}"/>
          </ac:spMkLst>
        </pc:spChg>
        <pc:spChg chg="mod">
          <ac:chgData name="Alexandre Zanetti de Almeida" userId="129d4ce6-e715-4d33-b4c4-312f1656225b" providerId="ADAL" clId="{BECA18A6-594E-4578-8AB9-5C690EC3EA32}" dt="2025-06-30T14:10:58.976" v="1014"/>
          <ac:spMkLst>
            <pc:docMk/>
            <pc:sldMk cId="3660087686" sldId="2147470303"/>
            <ac:spMk id="23" creationId="{16A9AEA1-9A4C-F748-69D8-B0CB2EBECEA8}"/>
          </ac:spMkLst>
        </pc:spChg>
        <pc:spChg chg="mod">
          <ac:chgData name="Alexandre Zanetti de Almeida" userId="129d4ce6-e715-4d33-b4c4-312f1656225b" providerId="ADAL" clId="{BECA18A6-594E-4578-8AB9-5C690EC3EA32}" dt="2025-06-30T14:12:02.554" v="1035" actId="20577"/>
          <ac:spMkLst>
            <pc:docMk/>
            <pc:sldMk cId="3660087686" sldId="2147470303"/>
            <ac:spMk id="28" creationId="{D7342A6D-203F-01A7-208F-97F700E5374A}"/>
          </ac:spMkLst>
        </pc:spChg>
        <pc:spChg chg="mod">
          <ac:chgData name="Alexandre Zanetti de Almeida" userId="129d4ce6-e715-4d33-b4c4-312f1656225b" providerId="ADAL" clId="{BECA18A6-594E-4578-8AB9-5C690EC3EA32}" dt="2025-06-30T14:13:17.304" v="1052"/>
          <ac:spMkLst>
            <pc:docMk/>
            <pc:sldMk cId="3660087686" sldId="2147470303"/>
            <ac:spMk id="29" creationId="{0B89EA06-D9D1-02B6-09A4-800E17FDE657}"/>
          </ac:spMkLst>
        </pc:spChg>
        <pc:spChg chg="mod">
          <ac:chgData name="Alexandre Zanetti de Almeida" userId="129d4ce6-e715-4d33-b4c4-312f1656225b" providerId="ADAL" clId="{BECA18A6-594E-4578-8AB9-5C690EC3EA32}" dt="2025-06-30T14:13:25.174" v="1055" actId="6549"/>
          <ac:spMkLst>
            <pc:docMk/>
            <pc:sldMk cId="3660087686" sldId="2147470303"/>
            <ac:spMk id="30" creationId="{EE523B33-5D0C-4EE1-CD90-3C28B6202B61}"/>
          </ac:spMkLst>
        </pc:spChg>
        <pc:spChg chg="mod">
          <ac:chgData name="Alexandre Zanetti de Almeida" userId="129d4ce6-e715-4d33-b4c4-312f1656225b" providerId="ADAL" clId="{BECA18A6-594E-4578-8AB9-5C690EC3EA32}" dt="2025-06-30T14:10:10.201" v="997"/>
          <ac:spMkLst>
            <pc:docMk/>
            <pc:sldMk cId="3660087686" sldId="2147470303"/>
            <ac:spMk id="50" creationId="{E3D28539-E8A2-BC1C-EFB5-5DFA8DA2835B}"/>
          </ac:spMkLst>
        </pc:spChg>
        <pc:grpChg chg="add mod">
          <ac:chgData name="Alexandre Zanetti de Almeida" userId="129d4ce6-e715-4d33-b4c4-312f1656225b" providerId="ADAL" clId="{BECA18A6-594E-4578-8AB9-5C690EC3EA32}" dt="2025-06-30T14:10:10.201" v="997"/>
          <ac:grpSpMkLst>
            <pc:docMk/>
            <pc:sldMk cId="3660087686" sldId="2147470303"/>
            <ac:grpSpMk id="49" creationId="{65EA2985-6653-DD7B-D1FA-3B0D1FA96E72}"/>
          </ac:grpSpMkLst>
        </pc:grpChg>
        <pc:picChg chg="mod">
          <ac:chgData name="Alexandre Zanetti de Almeida" userId="129d4ce6-e715-4d33-b4c4-312f1656225b" providerId="ADAL" clId="{BECA18A6-594E-4578-8AB9-5C690EC3EA32}" dt="2025-06-30T14:10:10.201" v="997"/>
          <ac:picMkLst>
            <pc:docMk/>
            <pc:sldMk cId="3660087686" sldId="2147470303"/>
            <ac:picMk id="51" creationId="{68A52A51-4BEF-5E74-D4CF-50920BB6580F}"/>
          </ac:picMkLst>
        </pc:picChg>
      </pc:sldChg>
      <pc:sldChg chg="addSp delSp modSp add mod">
        <pc:chgData name="Alexandre Zanetti de Almeida" userId="129d4ce6-e715-4d33-b4c4-312f1656225b" providerId="ADAL" clId="{BECA18A6-594E-4578-8AB9-5C690EC3EA32}" dt="2025-07-24T10:40:27.824" v="2425"/>
        <pc:sldMkLst>
          <pc:docMk/>
          <pc:sldMk cId="1940508740" sldId="2147470304"/>
        </pc:sldMkLst>
        <pc:spChg chg="mod">
          <ac:chgData name="Alexandre Zanetti de Almeida" userId="129d4ce6-e715-4d33-b4c4-312f1656225b" providerId="ADAL" clId="{BECA18A6-594E-4578-8AB9-5C690EC3EA32}" dt="2025-07-23T10:53:37.419" v="1892" actId="108"/>
          <ac:spMkLst>
            <pc:docMk/>
            <pc:sldMk cId="1940508740" sldId="2147470304"/>
            <ac:spMk id="16" creationId="{EC4455BA-D3E9-9793-68CD-C3583A4E6304}"/>
          </ac:spMkLst>
        </pc:spChg>
        <pc:spChg chg="mod">
          <ac:chgData name="Alexandre Zanetti de Almeida" userId="129d4ce6-e715-4d33-b4c4-312f1656225b" providerId="ADAL" clId="{BECA18A6-594E-4578-8AB9-5C690EC3EA32}" dt="2025-07-24T10:40:27.824" v="2425"/>
          <ac:spMkLst>
            <pc:docMk/>
            <pc:sldMk cId="1940508740" sldId="2147470304"/>
            <ac:spMk id="21" creationId="{97F45830-8E04-1A06-389C-4A5003A45C7F}"/>
          </ac:spMkLst>
        </pc:spChg>
        <pc:spChg chg="mod">
          <ac:chgData name="Alexandre Zanetti de Almeida" userId="129d4ce6-e715-4d33-b4c4-312f1656225b" providerId="ADAL" clId="{BECA18A6-594E-4578-8AB9-5C690EC3EA32}" dt="2025-07-03T10:59:24.284" v="1749" actId="255"/>
          <ac:spMkLst>
            <pc:docMk/>
            <pc:sldMk cId="1940508740" sldId="2147470304"/>
            <ac:spMk id="22" creationId="{7E22B0EB-5D24-34FE-BC08-2E5A9B6E10FD}"/>
          </ac:spMkLst>
        </pc:spChg>
        <pc:spChg chg="mod">
          <ac:chgData name="Alexandre Zanetti de Almeida" userId="129d4ce6-e715-4d33-b4c4-312f1656225b" providerId="ADAL" clId="{BECA18A6-594E-4578-8AB9-5C690EC3EA32}" dt="2025-07-02T11:36:46.773" v="1122"/>
          <ac:spMkLst>
            <pc:docMk/>
            <pc:sldMk cId="1940508740" sldId="2147470304"/>
            <ac:spMk id="23" creationId="{3399BC71-F48A-62FF-1FC5-6A7E292DA2C6}"/>
          </ac:spMkLst>
        </pc:spChg>
        <pc:spChg chg="mod">
          <ac:chgData name="Alexandre Zanetti de Almeida" userId="129d4ce6-e715-4d33-b4c4-312f1656225b" providerId="ADAL" clId="{BECA18A6-594E-4578-8AB9-5C690EC3EA32}" dt="2025-07-03T10:59:24.284" v="1749" actId="255"/>
          <ac:spMkLst>
            <pc:docMk/>
            <pc:sldMk cId="1940508740" sldId="2147470304"/>
            <ac:spMk id="28" creationId="{C52088BD-E241-32F3-D401-EA5F267A951F}"/>
          </ac:spMkLst>
        </pc:spChg>
        <pc:spChg chg="mod">
          <ac:chgData name="Alexandre Zanetti de Almeida" userId="129d4ce6-e715-4d33-b4c4-312f1656225b" providerId="ADAL" clId="{BECA18A6-594E-4578-8AB9-5C690EC3EA32}" dt="2025-07-03T10:59:24.284" v="1749" actId="255"/>
          <ac:spMkLst>
            <pc:docMk/>
            <pc:sldMk cId="1940508740" sldId="2147470304"/>
            <ac:spMk id="29" creationId="{A433A465-D5E8-03C4-2424-D9AA99A3E94C}"/>
          </ac:spMkLst>
        </pc:spChg>
        <pc:spChg chg="mod">
          <ac:chgData name="Alexandre Zanetti de Almeida" userId="129d4ce6-e715-4d33-b4c4-312f1656225b" providerId="ADAL" clId="{BECA18A6-594E-4578-8AB9-5C690EC3EA32}" dt="2025-07-02T11:36:40.624" v="1119" actId="20577"/>
          <ac:spMkLst>
            <pc:docMk/>
            <pc:sldMk cId="1940508740" sldId="2147470304"/>
            <ac:spMk id="30" creationId="{640B18F6-8CEE-8FE5-1117-4A2A7F1768E8}"/>
          </ac:spMkLst>
        </pc:spChg>
        <pc:spChg chg="mod">
          <ac:chgData name="Alexandre Zanetti de Almeida" userId="129d4ce6-e715-4d33-b4c4-312f1656225b" providerId="ADAL" clId="{BECA18A6-594E-4578-8AB9-5C690EC3EA32}" dt="2025-07-02T11:36:16.602" v="1103" actId="20577"/>
          <ac:spMkLst>
            <pc:docMk/>
            <pc:sldMk cId="1940508740" sldId="2147470304"/>
            <ac:spMk id="37" creationId="{6EA3331D-8170-4033-7FD7-8D7085001518}"/>
          </ac:spMkLst>
        </pc:spChg>
        <pc:spChg chg="mod">
          <ac:chgData name="Alexandre Zanetti de Almeida" userId="129d4ce6-e715-4d33-b4c4-312f1656225b" providerId="ADAL" clId="{BECA18A6-594E-4578-8AB9-5C690EC3EA32}" dt="2025-07-02T11:36:19.544" v="1106" actId="20577"/>
          <ac:spMkLst>
            <pc:docMk/>
            <pc:sldMk cId="1940508740" sldId="2147470304"/>
            <ac:spMk id="38" creationId="{7FCF2251-6B96-D512-69BE-5B4B2B282FE6}"/>
          </ac:spMkLst>
        </pc:spChg>
        <pc:spChg chg="mod">
          <ac:chgData name="Alexandre Zanetti de Almeida" userId="129d4ce6-e715-4d33-b4c4-312f1656225b" providerId="ADAL" clId="{BECA18A6-594E-4578-8AB9-5C690EC3EA32}" dt="2025-07-02T11:36:22.471" v="1109" actId="20577"/>
          <ac:spMkLst>
            <pc:docMk/>
            <pc:sldMk cId="1940508740" sldId="2147470304"/>
            <ac:spMk id="39" creationId="{4C406243-F2AD-E765-32EA-157C426A3367}"/>
          </ac:spMkLst>
        </pc:spChg>
        <pc:spChg chg="mod">
          <ac:chgData name="Alexandre Zanetti de Almeida" userId="129d4ce6-e715-4d33-b4c4-312f1656225b" providerId="ADAL" clId="{BECA18A6-594E-4578-8AB9-5C690EC3EA32}" dt="2025-07-02T11:36:07.651" v="1094" actId="20577"/>
          <ac:spMkLst>
            <pc:docMk/>
            <pc:sldMk cId="1940508740" sldId="2147470304"/>
            <ac:spMk id="45" creationId="{3EE45CA7-D754-3378-89B9-6728A8248A6D}"/>
          </ac:spMkLst>
        </pc:spChg>
        <pc:spChg chg="mod">
          <ac:chgData name="Alexandre Zanetti de Almeida" userId="129d4ce6-e715-4d33-b4c4-312f1656225b" providerId="ADAL" clId="{BECA18A6-594E-4578-8AB9-5C690EC3EA32}" dt="2025-07-02T11:36:10.272" v="1097" actId="20577"/>
          <ac:spMkLst>
            <pc:docMk/>
            <pc:sldMk cId="1940508740" sldId="2147470304"/>
            <ac:spMk id="46" creationId="{4C0109DF-10BC-8CD5-A0AB-400E2905828E}"/>
          </ac:spMkLst>
        </pc:spChg>
        <pc:spChg chg="mod">
          <ac:chgData name="Alexandre Zanetti de Almeida" userId="129d4ce6-e715-4d33-b4c4-312f1656225b" providerId="ADAL" clId="{BECA18A6-594E-4578-8AB9-5C690EC3EA32}" dt="2025-07-02T11:36:12.992" v="1100" actId="20577"/>
          <ac:spMkLst>
            <pc:docMk/>
            <pc:sldMk cId="1940508740" sldId="2147470304"/>
            <ac:spMk id="47" creationId="{E517AE3D-5DC9-9850-2AD5-0F0398C0D692}"/>
          </ac:spMkLst>
        </pc:spChg>
      </pc:sldChg>
      <pc:sldChg chg="addSp delSp modSp add mod">
        <pc:chgData name="Alexandre Zanetti de Almeida" userId="129d4ce6-e715-4d33-b4c4-312f1656225b" providerId="ADAL" clId="{BECA18A6-594E-4578-8AB9-5C690EC3EA32}" dt="2025-07-23T10:53:44.633" v="1893"/>
        <pc:sldMkLst>
          <pc:docMk/>
          <pc:sldMk cId="666269910" sldId="2147470305"/>
        </pc:sldMkLst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13" creationId="{16D2B9C8-3938-0557-7D05-644F94617DC2}"/>
          </ac:spMkLst>
        </pc:spChg>
        <pc:spChg chg="mod">
          <ac:chgData name="Alexandre Zanetti de Almeida" userId="129d4ce6-e715-4d33-b4c4-312f1656225b" providerId="ADAL" clId="{BECA18A6-594E-4578-8AB9-5C690EC3EA32}" dt="2025-07-23T10:53:44.633" v="1893"/>
          <ac:spMkLst>
            <pc:docMk/>
            <pc:sldMk cId="666269910" sldId="2147470305"/>
            <ac:spMk id="16" creationId="{E22DBF5B-D60A-683E-6EEC-8AA9185B7D62}"/>
          </ac:spMkLst>
        </pc:spChg>
        <pc:spChg chg="mod">
          <ac:chgData name="Alexandre Zanetti de Almeida" userId="129d4ce6-e715-4d33-b4c4-312f1656225b" providerId="ADAL" clId="{BECA18A6-594E-4578-8AB9-5C690EC3EA32}" dt="2025-07-02T11:38:29.087" v="1171" actId="20577"/>
          <ac:spMkLst>
            <pc:docMk/>
            <pc:sldMk cId="666269910" sldId="2147470305"/>
            <ac:spMk id="49" creationId="{43DF6B22-3E91-C067-5409-8A30BD51BCD4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0" creationId="{6105204D-BA0B-72FD-2BE4-90C13A8363AA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3" creationId="{D17E591F-1B2D-E9C4-DED9-4534D2C0F731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5" creationId="{8492E134-105F-D8D3-65C3-AD3C18FAAB0F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8" creationId="{92F76E10-7670-2451-6C63-6CDCCE95A2CE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67" creationId="{62F7B321-F20E-D98D-9D0C-25586CBD2818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69" creationId="{3B2E668E-A7F8-B224-31AB-08EB36B6B8FA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73" creationId="{2B50D29F-E327-0FE6-3C03-F96D4577CF4F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75" creationId="{B905FA01-8349-0971-F2DF-31C3EF970E0F}"/>
          </ac:spMkLst>
        </pc:spChg>
      </pc:sldChg>
      <pc:sldChg chg="addSp delSp modSp add mod">
        <pc:chgData name="Alexandre Zanetti de Almeida" userId="129d4ce6-e715-4d33-b4c4-312f1656225b" providerId="ADAL" clId="{BECA18A6-594E-4578-8AB9-5C690EC3EA32}" dt="2025-07-24T10:56:48.096" v="2475" actId="20577"/>
        <pc:sldMkLst>
          <pc:docMk/>
          <pc:sldMk cId="2230261567" sldId="2147470306"/>
        </pc:sldMkLst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4" creationId="{BC0E6D19-441B-73B1-BB37-62140F2F6991}"/>
          </ac:spMkLst>
        </pc:spChg>
        <pc:spChg chg="mod">
          <ac:chgData name="Alexandre Zanetti de Almeida" userId="129d4ce6-e715-4d33-b4c4-312f1656225b" providerId="ADAL" clId="{BECA18A6-594E-4578-8AB9-5C690EC3EA32}" dt="2025-07-24T10:56:48.096" v="2475" actId="20577"/>
          <ac:spMkLst>
            <pc:docMk/>
            <pc:sldMk cId="2230261567" sldId="2147470306"/>
            <ac:spMk id="11" creationId="{B8C5B9B3-F82B-CDA6-0CEF-1C7C1C0EC81E}"/>
          </ac:spMkLst>
        </pc:spChg>
        <pc:spChg chg="mod">
          <ac:chgData name="Alexandre Zanetti de Almeida" userId="129d4ce6-e715-4d33-b4c4-312f1656225b" providerId="ADAL" clId="{BECA18A6-594E-4578-8AB9-5C690EC3EA32}" dt="2025-07-23T10:53:49.114" v="1894"/>
          <ac:spMkLst>
            <pc:docMk/>
            <pc:sldMk cId="2230261567" sldId="2147470306"/>
            <ac:spMk id="16" creationId="{BC28EA8F-0B64-5CFD-35E7-8571FA4E816E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55" creationId="{F2F59243-343D-EA82-253E-D4E5E9BAC1B8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56" creationId="{1ABE4715-E03E-ACCA-0C50-6C033CA1E1DD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58" creationId="{71356357-76F9-44EA-5A38-DCF522576C88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62" creationId="{DB6E0BA9-C19F-5B6E-91A0-9EEC4C38DEB7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66" creationId="{B0470F95-B712-8F18-93FA-7E41ACF722E4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67" creationId="{123D6B85-14BB-6D57-1BE2-BF7599B59CFC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70" creationId="{A136EF49-3E01-36BA-086A-4CC6CB603D31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72" creationId="{C56586C4-CC4F-6879-82AF-5987643258D9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75" creationId="{5465B40A-C796-EDDB-8E57-3C671DF8E578}"/>
          </ac:spMkLst>
        </pc:spChg>
      </pc:sldChg>
      <pc:sldChg chg="add">
        <pc:chgData name="Alexandre Zanetti de Almeida" userId="129d4ce6-e715-4d33-b4c4-312f1656225b" providerId="ADAL" clId="{BECA18A6-594E-4578-8AB9-5C690EC3EA32}" dt="2025-07-23T10:54:01.403" v="1900" actId="2890"/>
        <pc:sldMkLst>
          <pc:docMk/>
          <pc:sldMk cId="229337627" sldId="2147470307"/>
        </pc:sldMkLst>
      </pc:sldChg>
      <pc:sldChg chg="new del ord">
        <pc:chgData name="Alexandre Zanetti de Almeida" userId="129d4ce6-e715-4d33-b4c4-312f1656225b" providerId="ADAL" clId="{BECA18A6-594E-4578-8AB9-5C690EC3EA32}" dt="2025-07-23T10:53:59.447" v="1899" actId="680"/>
        <pc:sldMkLst>
          <pc:docMk/>
          <pc:sldMk cId="469112513" sldId="2147470307"/>
        </pc:sldMkLst>
      </pc:sldChg>
    </pc:docChg>
  </pc:docChgLst>
  <pc:docChgLst>
    <pc:chgData name="Alexandre Zanetti de Almeida" userId="129d4ce6-e715-4d33-b4c4-312f1656225b" providerId="ADAL" clId="{1DB5D1E9-92EF-467B-9A09-A70ED12F8C7B}"/>
    <pc:docChg chg="undo redo custSel addSld delSld modSld sldOrd modSection">
      <pc:chgData name="Alexandre Zanetti de Almeida" userId="129d4ce6-e715-4d33-b4c4-312f1656225b" providerId="ADAL" clId="{1DB5D1E9-92EF-467B-9A09-A70ED12F8C7B}" dt="2025-05-23T20:34:52.447" v="1009" actId="20577"/>
      <pc:docMkLst>
        <pc:docMk/>
      </pc:docMkLst>
      <pc:sldChg chg="modSp mod">
        <pc:chgData name="Alexandre Zanetti de Almeida" userId="129d4ce6-e715-4d33-b4c4-312f1656225b" providerId="ADAL" clId="{1DB5D1E9-92EF-467B-9A09-A70ED12F8C7B}" dt="2025-05-21T10:00:29.534" v="12" actId="6549"/>
        <pc:sldMkLst>
          <pc:docMk/>
          <pc:sldMk cId="3565198220" sldId="257"/>
        </pc:sldMkLst>
      </pc:sldChg>
      <pc:sldChg chg="del">
        <pc:chgData name="Alexandre Zanetti de Almeida" userId="129d4ce6-e715-4d33-b4c4-312f1656225b" providerId="ADAL" clId="{1DB5D1E9-92EF-467B-9A09-A70ED12F8C7B}" dt="2025-05-21T11:54:30.803" v="282" actId="2696"/>
        <pc:sldMkLst>
          <pc:docMk/>
          <pc:sldMk cId="2262049528" sldId="2147470239"/>
        </pc:sldMkLst>
      </pc:sldChg>
      <pc:sldChg chg="ord">
        <pc:chgData name="Alexandre Zanetti de Almeida" userId="129d4ce6-e715-4d33-b4c4-312f1656225b" providerId="ADAL" clId="{1DB5D1E9-92EF-467B-9A09-A70ED12F8C7B}" dt="2025-05-23T12:42:16.307" v="699"/>
        <pc:sldMkLst>
          <pc:docMk/>
          <pc:sldMk cId="1880917490" sldId="2147470250"/>
        </pc:sldMkLst>
      </pc:sldChg>
      <pc:sldChg chg="mod ord modShow">
        <pc:chgData name="Alexandre Zanetti de Almeida" userId="129d4ce6-e715-4d33-b4c4-312f1656225b" providerId="ADAL" clId="{1DB5D1E9-92EF-467B-9A09-A70ED12F8C7B}" dt="2025-05-23T12:42:16.307" v="699"/>
        <pc:sldMkLst>
          <pc:docMk/>
          <pc:sldMk cId="4272279068" sldId="2147470251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1T10:01:58.926" v="23" actId="47"/>
        <pc:sldMkLst>
          <pc:docMk/>
          <pc:sldMk cId="2817282654" sldId="2147470283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1T11:42:34.495" v="250" actId="729"/>
        <pc:sldMkLst>
          <pc:docMk/>
          <pc:sldMk cId="1080730617" sldId="2147470284"/>
        </pc:sldMkLst>
      </pc:sldChg>
      <pc:sldChg chg="new del">
        <pc:chgData name="Alexandre Zanetti de Almeida" userId="129d4ce6-e715-4d33-b4c4-312f1656225b" providerId="ADAL" clId="{1DB5D1E9-92EF-467B-9A09-A70ED12F8C7B}" dt="2025-05-21T11:38:11.001" v="158" actId="680"/>
        <pc:sldMkLst>
          <pc:docMk/>
          <pc:sldMk cId="291313348" sldId="2147470285"/>
        </pc:sldMkLst>
      </pc:sldChg>
      <pc:sldChg chg="modSp add mod">
        <pc:chgData name="Alexandre Zanetti de Almeida" userId="129d4ce6-e715-4d33-b4c4-312f1656225b" providerId="ADAL" clId="{1DB5D1E9-92EF-467B-9A09-A70ED12F8C7B}" dt="2025-05-23T20:34:52.447" v="1009" actId="20577"/>
        <pc:sldMkLst>
          <pc:docMk/>
          <pc:sldMk cId="4262446273" sldId="2147470285"/>
        </pc:sldMkLst>
      </pc:sldChg>
      <pc:sldChg chg="modSp add mod modShow">
        <pc:chgData name="Alexandre Zanetti de Almeida" userId="129d4ce6-e715-4d33-b4c4-312f1656225b" providerId="ADAL" clId="{1DB5D1E9-92EF-467B-9A09-A70ED12F8C7B}" dt="2025-05-23T12:18:08.557" v="477"/>
        <pc:sldMkLst>
          <pc:docMk/>
          <pc:sldMk cId="3886147896" sldId="2147470286"/>
        </pc:sldMkLst>
      </pc:sldChg>
      <pc:sldChg chg="addSp delSp modSp add mod">
        <pc:chgData name="Alexandre Zanetti de Almeida" userId="129d4ce6-e715-4d33-b4c4-312f1656225b" providerId="ADAL" clId="{1DB5D1E9-92EF-467B-9A09-A70ED12F8C7B}" dt="2025-05-21T11:56:44.288" v="290" actId="14734"/>
        <pc:sldMkLst>
          <pc:docMk/>
          <pc:sldMk cId="3456330198" sldId="2147470287"/>
        </pc:sldMkLst>
      </pc:sldChg>
      <pc:sldChg chg="modSp add del mod">
        <pc:chgData name="Alexandre Zanetti de Almeida" userId="129d4ce6-e715-4d33-b4c4-312f1656225b" providerId="ADAL" clId="{1DB5D1E9-92EF-467B-9A09-A70ED12F8C7B}" dt="2025-05-23T12:42:07.869" v="697" actId="47"/>
        <pc:sldMkLst>
          <pc:docMk/>
          <pc:sldMk cId="2716973536" sldId="2147470288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1T11:53:54.832" v="276" actId="47"/>
        <pc:sldMkLst>
          <pc:docMk/>
          <pc:sldMk cId="4066329794" sldId="2147470288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38:54.557" v="631" actId="47"/>
        <pc:sldMkLst>
          <pc:docMk/>
          <pc:sldMk cId="20244889" sldId="2147470289"/>
        </pc:sldMkLst>
      </pc:sldChg>
      <pc:sldChg chg="addSp delSp modSp add del setBg delDesignElem">
        <pc:chgData name="Alexandre Zanetti de Almeida" userId="129d4ce6-e715-4d33-b4c4-312f1656225b" providerId="ADAL" clId="{1DB5D1E9-92EF-467B-9A09-A70ED12F8C7B}" dt="2025-05-23T12:53:47.965" v="741" actId="47"/>
        <pc:sldMkLst>
          <pc:docMk/>
          <pc:sldMk cId="998295101" sldId="2147470289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41:27.709" v="692" actId="729"/>
        <pc:sldMkLst>
          <pc:docMk/>
          <pc:sldMk cId="3779101396" sldId="2147470290"/>
        </pc:sldMkLst>
      </pc:sldChg>
      <pc:sldChg chg="modSp add mod">
        <pc:chgData name="Alexandre Zanetti de Almeida" userId="129d4ce6-e715-4d33-b4c4-312f1656225b" providerId="ADAL" clId="{1DB5D1E9-92EF-467B-9A09-A70ED12F8C7B}" dt="2025-05-23T12:41:54.801" v="696"/>
        <pc:sldMkLst>
          <pc:docMk/>
          <pc:sldMk cId="2942458670" sldId="2147470291"/>
        </pc:sldMkLst>
      </pc:sldChg>
      <pc:sldChg chg="modSp add mod modShow">
        <pc:chgData name="Alexandre Zanetti de Almeida" userId="129d4ce6-e715-4d33-b4c4-312f1656225b" providerId="ADAL" clId="{1DB5D1E9-92EF-467B-9A09-A70ED12F8C7B}" dt="2025-05-23T12:41:37.288" v="694" actId="729"/>
        <pc:sldMkLst>
          <pc:docMk/>
          <pc:sldMk cId="735740456" sldId="2147470292"/>
        </pc:sldMkLst>
      </pc:sldChg>
      <pc:sldChg chg="add">
        <pc:chgData name="Alexandre Zanetti de Almeida" userId="129d4ce6-e715-4d33-b4c4-312f1656225b" providerId="ADAL" clId="{1DB5D1E9-92EF-467B-9A09-A70ED12F8C7B}" dt="2025-05-23T12:46:44.482" v="700" actId="2890"/>
        <pc:sldMkLst>
          <pc:docMk/>
          <pc:sldMk cId="3951554011" sldId="2147470293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54:06.849" v="747" actId="729"/>
        <pc:sldMkLst>
          <pc:docMk/>
          <pc:sldMk cId="3275488672" sldId="2147470294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54:17.171" v="749" actId="47"/>
        <pc:sldMkLst>
          <pc:docMk/>
          <pc:sldMk cId="117742514" sldId="2147470295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54:40.202" v="754" actId="47"/>
        <pc:sldMkLst>
          <pc:docMk/>
          <pc:sldMk cId="420519257" sldId="2147470296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58:34.097" v="938" actId="21"/>
        <pc:sldMkLst>
          <pc:docMk/>
          <pc:sldMk cId="538638572" sldId="2147470297"/>
        </pc:sldMkLst>
      </pc:sldChg>
      <pc:sldChg chg="add del">
        <pc:chgData name="Alexandre Zanetti de Almeida" userId="129d4ce6-e715-4d33-b4c4-312f1656225b" providerId="ADAL" clId="{1DB5D1E9-92EF-467B-9A09-A70ED12F8C7B}" dt="2025-05-23T12:53:32.579" v="736" actId="2890"/>
        <pc:sldMkLst>
          <pc:docMk/>
          <pc:sldMk cId="4094714961" sldId="2147470297"/>
        </pc:sldMkLst>
      </pc:sldChg>
      <pc:sldChg chg="addSp delSp modSp add mod">
        <pc:chgData name="Alexandre Zanetti de Almeida" userId="129d4ce6-e715-4d33-b4c4-312f1656225b" providerId="ADAL" clId="{1DB5D1E9-92EF-467B-9A09-A70ED12F8C7B}" dt="2025-05-23T12:59:01.231" v="957" actId="20577"/>
        <pc:sldMkLst>
          <pc:docMk/>
          <pc:sldMk cId="155112765" sldId="2147470298"/>
        </pc:sldMkLst>
      </pc:sldChg>
    </pc:docChg>
  </pc:docChgLst>
  <pc:docChgLst>
    <pc:chgData name="Alexandre Zanetti de Almeida" userId="129d4ce6-e715-4d33-b4c4-312f1656225b" providerId="ADAL" clId="{72D30366-B7DE-47DF-B27F-990419579B41}"/>
    <pc:docChg chg="custSel modSld">
      <pc:chgData name="Alexandre Zanetti de Almeida" userId="129d4ce6-e715-4d33-b4c4-312f1656225b" providerId="ADAL" clId="{72D30366-B7DE-47DF-B27F-990419579B41}" dt="2025-08-13T12:03:21.234" v="35" actId="6549"/>
      <pc:docMkLst>
        <pc:docMk/>
      </pc:docMkLst>
      <pc:sldChg chg="modSp mod">
        <pc:chgData name="Alexandre Zanetti de Almeida" userId="129d4ce6-e715-4d33-b4c4-312f1656225b" providerId="ADAL" clId="{72D30366-B7DE-47DF-B27F-990419579B41}" dt="2025-08-13T12:02:07.543" v="13" actId="5793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72D30366-B7DE-47DF-B27F-990419579B41}" dt="2025-08-13T12:02:07.543" v="13" actId="5793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72D30366-B7DE-47DF-B27F-990419579B41}" dt="2025-08-13T12:02:25.482" v="27" actId="108"/>
        <pc:sldMkLst>
          <pc:docMk/>
          <pc:sldMk cId="1940508740" sldId="2147470304"/>
        </pc:sldMkLst>
        <pc:spChg chg="mod">
          <ac:chgData name="Alexandre Zanetti de Almeida" userId="129d4ce6-e715-4d33-b4c4-312f1656225b" providerId="ADAL" clId="{72D30366-B7DE-47DF-B27F-990419579B41}" dt="2025-08-13T12:02:25.482" v="27" actId="108"/>
          <ac:spMkLst>
            <pc:docMk/>
            <pc:sldMk cId="1940508740" sldId="2147470304"/>
            <ac:spMk id="16" creationId="{EC4455BA-D3E9-9793-68CD-C3583A4E6304}"/>
          </ac:spMkLst>
        </pc:spChg>
      </pc:sldChg>
      <pc:sldChg chg="modSp mod">
        <pc:chgData name="Alexandre Zanetti de Almeida" userId="129d4ce6-e715-4d33-b4c4-312f1656225b" providerId="ADAL" clId="{72D30366-B7DE-47DF-B27F-990419579B41}" dt="2025-08-13T12:02:43.185" v="31" actId="6549"/>
        <pc:sldMkLst>
          <pc:docMk/>
          <pc:sldMk cId="666269910" sldId="2147470305"/>
        </pc:sldMkLst>
        <pc:spChg chg="mod">
          <ac:chgData name="Alexandre Zanetti de Almeida" userId="129d4ce6-e715-4d33-b4c4-312f1656225b" providerId="ADAL" clId="{72D30366-B7DE-47DF-B27F-990419579B41}" dt="2025-08-13T12:02:43.185" v="31" actId="6549"/>
          <ac:spMkLst>
            <pc:docMk/>
            <pc:sldMk cId="666269910" sldId="2147470305"/>
            <ac:spMk id="16" creationId="{E22DBF5B-D60A-683E-6EEC-8AA9185B7D62}"/>
          </ac:spMkLst>
        </pc:spChg>
      </pc:sldChg>
      <pc:sldChg chg="modSp mod">
        <pc:chgData name="Alexandre Zanetti de Almeida" userId="129d4ce6-e715-4d33-b4c4-312f1656225b" providerId="ADAL" clId="{72D30366-B7DE-47DF-B27F-990419579B41}" dt="2025-08-13T12:03:21.234" v="35" actId="6549"/>
        <pc:sldMkLst>
          <pc:docMk/>
          <pc:sldMk cId="2230261567" sldId="2147470306"/>
        </pc:sldMkLst>
        <pc:spChg chg="mod">
          <ac:chgData name="Alexandre Zanetti de Almeida" userId="129d4ce6-e715-4d33-b4c4-312f1656225b" providerId="ADAL" clId="{72D30366-B7DE-47DF-B27F-990419579B41}" dt="2025-08-13T12:03:21.234" v="35" actId="6549"/>
          <ac:spMkLst>
            <pc:docMk/>
            <pc:sldMk cId="2230261567" sldId="2147470306"/>
            <ac:spMk id="16" creationId="{BC28EA8F-0B64-5CFD-35E7-8571FA4E816E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CDC89-5FE6-4B34-9A5D-1E08CFC37286}" type="datetimeFigureOut">
              <a:rPr lang="pt-BR" smtClean="0"/>
              <a:t>05/09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EEA83E-3FD9-45DF-9909-761FD3E0C43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117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A829-EE25-924A-A042-A385156E74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34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A829-EE25-924A-A042-A385156E74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39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3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2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A2B7A-6F32-7178-694C-235973298C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260B06-0242-3870-2DA9-940B2F8CD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A4491C7-1AFA-DB47-3818-28766B68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5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38970A-3E98-555B-992A-F605A4BE3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281B37-251D-2ACB-4D2E-BDCC63D33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9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B5C74-5447-4FC8-E41B-FDDF4D79F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A98CF0-C7DB-BCB5-28B1-149877868C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83D8D0-1A84-4100-8A76-69A1D6BB7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5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C227D0-7D00-873A-90E4-1C56AAF58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20D776-820A-884A-081C-72CEA3446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2749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76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023183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66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3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4834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70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D779B3C-3C2D-5F07-76E8-72E10A38E9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972C9E-C0C5-45EF-1BF6-ACF5D50CFA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2B988A-1510-9C84-2077-24A1BEDFA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5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EA231A-014D-5468-EB7F-2EC80ECC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C96B8-F2DE-DC98-1F19-13C39CA7A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205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60198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6" y="1886663"/>
            <a:ext cx="5324696" cy="4296421"/>
          </a:xfrm>
          <a:prstGeom prst="rect">
            <a:avLst/>
          </a:prstGeom>
        </p:spPr>
        <p:txBody>
          <a:bodyPr lIns="91425" tIns="91425" rIns="45720" bIns="91425" anchor="t" anchorCtr="0">
            <a:normAutofit/>
          </a:bodyPr>
          <a:lstStyle>
            <a:lvl1pPr marL="290513" lvl="0" indent="-227013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7" y="833355"/>
            <a:ext cx="11585448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BE95FF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 – Key mess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4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hape 27">
            <a:extLst>
              <a:ext uri="{FF2B5EF4-FFF2-40B4-BE49-F238E27FC236}">
                <a16:creationId xmlns:a16="http://schemas.microsoft.com/office/drawing/2014/main" id="{28AAD0CA-B090-384F-92FD-7B8693F604A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526681" y="1868326"/>
            <a:ext cx="5324696" cy="429642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228595" lvl="0" indent="0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52EFE0E-B64D-FA4F-BF4E-C314CC7CAE3D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630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+ images/icon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31"/>
          <p:cNvSpPr txBox="1">
            <a:spLocks noGrp="1"/>
          </p:cNvSpPr>
          <p:nvPr>
            <p:ph type="body" idx="1"/>
          </p:nvPr>
        </p:nvSpPr>
        <p:spPr>
          <a:xfrm>
            <a:off x="303207" y="3760327"/>
            <a:ext cx="3352606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3208" y="874419"/>
            <a:ext cx="3352606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5" y="7635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Shape 31">
            <a:extLst>
              <a:ext uri="{FF2B5EF4-FFF2-40B4-BE49-F238E27FC236}">
                <a16:creationId xmlns:a16="http://schemas.microsoft.com/office/drawing/2014/main" id="{9A83AEC6-A706-FC47-B198-2A14A976228C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4419695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502CF5C-C197-F04F-919F-9BA79BA4C8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9696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A52F7FB9-02F3-194E-A37C-EC8FAADAD0F0}"/>
              </a:ext>
            </a:extLst>
          </p:cNvPr>
          <p:cNvSpPr txBox="1">
            <a:spLocks noGrp="1"/>
          </p:cNvSpPr>
          <p:nvPr>
            <p:ph type="body" idx="16"/>
          </p:nvPr>
        </p:nvSpPr>
        <p:spPr>
          <a:xfrm>
            <a:off x="8536186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CA48F88-7C6A-2F45-AA71-3CE981A176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36187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116AA7A-D917-A644-BB32-ABFD9BC8CCB8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0299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836783"/>
            <a:ext cx="11585575" cy="4504456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None/>
              <a:defRPr sz="18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6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606060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200" b="0" i="0">
                <a:solidFill>
                  <a:srgbClr val="0F62FE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1A20A0-C4C3-CB49-9FEF-69EAA14D2B2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8383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7" y="115902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99282B-D1E2-2544-968D-AA887B7AFB50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40921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A4AA8C-43C4-0B4A-99CA-748F4EA26671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427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534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gradFill>
            <a:gsLst>
              <a:gs pos="34000">
                <a:srgbClr val="096BFE"/>
              </a:gs>
              <a:gs pos="79000">
                <a:srgbClr val="6F5496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37484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D229B-1CF3-B634-DA61-98432B0F3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1D83F6-E776-11B5-A667-1FE3BDD69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E03E50-F7AE-CD1C-E34F-961EF4D5D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5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0A92EA-B048-5524-9442-29F068C69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B16ADB-60DD-FF61-15E5-653C7196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404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187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rgbClr val="6F54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781213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75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subTitle" idx="1" hasCustomPrompt="1"/>
          </p:nvPr>
        </p:nvSpPr>
        <p:spPr>
          <a:xfrm>
            <a:off x="2879184" y="3679002"/>
            <a:ext cx="6904896" cy="104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buSzPct val="100000"/>
              <a:buNone/>
              <a:defRPr sz="2000" b="0" i="0" dirty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2pPr>
            <a:lvl3pPr lvl="2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3pPr>
            <a:lvl4pPr lvl="3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4pPr>
            <a:lvl5pPr lvl="4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5pPr>
            <a:lvl6pPr lvl="5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6pPr>
            <a:lvl7pPr lvl="6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7pPr>
            <a:lvl8pPr lvl="7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8pPr>
            <a:lvl9pPr lvl="8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ctrTitle" hasCustomPrompt="1"/>
          </p:nvPr>
        </p:nvSpPr>
        <p:spPr>
          <a:xfrm>
            <a:off x="2879185" y="2132602"/>
            <a:ext cx="5050399" cy="15463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40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SzPct val="100000"/>
              <a:defRPr sz="4000"/>
            </a:lvl2pPr>
            <a:lvl3pPr lvl="2" rtl="0">
              <a:spcBef>
                <a:spcPts val="0"/>
              </a:spcBef>
              <a:buSzPct val="100000"/>
              <a:defRPr sz="4000"/>
            </a:lvl3pPr>
            <a:lvl4pPr lvl="3" rtl="0">
              <a:spcBef>
                <a:spcPts val="0"/>
              </a:spcBef>
              <a:buSzPct val="100000"/>
              <a:defRPr sz="4000"/>
            </a:lvl4pPr>
            <a:lvl5pPr lvl="4" rtl="0">
              <a:spcBef>
                <a:spcPts val="0"/>
              </a:spcBef>
              <a:buSzPct val="100000"/>
              <a:defRPr sz="4000"/>
            </a:lvl5pPr>
            <a:lvl6pPr lvl="5" rtl="0">
              <a:spcBef>
                <a:spcPts val="0"/>
              </a:spcBef>
              <a:buSzPct val="100000"/>
              <a:defRPr sz="4000"/>
            </a:lvl6pPr>
            <a:lvl7pPr lvl="6" rtl="0">
              <a:spcBef>
                <a:spcPts val="0"/>
              </a:spcBef>
              <a:buSzPct val="100000"/>
              <a:defRPr sz="4000"/>
            </a:lvl7pPr>
            <a:lvl8pPr lvl="7" rtl="0">
              <a:spcBef>
                <a:spcPts val="0"/>
              </a:spcBef>
              <a:buSzPct val="100000"/>
              <a:defRPr sz="4000"/>
            </a:lvl8pPr>
            <a:lvl9pPr lvl="8" rtl="0">
              <a:spcBef>
                <a:spcPts val="0"/>
              </a:spcBef>
              <a:buSzPct val="100000"/>
              <a:defRPr sz="4000"/>
            </a:lvl9pPr>
          </a:lstStyle>
          <a:p>
            <a:r>
              <a:rPr lang="en-US" dirty="0"/>
              <a:t>Transition Title</a:t>
            </a:r>
            <a:endParaRPr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B2E7AD-0E0C-284D-85DA-223A30AE4F2C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0020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 userDrawn="1"/>
        </p:nvSpPr>
        <p:spPr>
          <a:xfrm>
            <a:off x="2020188" y="125288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9320964" y="465192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384972" y="4601125"/>
            <a:ext cx="65836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”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060929" y="1188194"/>
            <a:ext cx="576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12" name="Shape 19"/>
          <p:cNvSpPr txBox="1">
            <a:spLocks noGrp="1"/>
          </p:cNvSpPr>
          <p:nvPr>
            <p:ph type="body" idx="1" hasCustomPrompt="1"/>
          </p:nvPr>
        </p:nvSpPr>
        <p:spPr>
          <a:xfrm>
            <a:off x="2746647" y="1911252"/>
            <a:ext cx="6578400" cy="2740672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457189" lvl="0" indent="-457189" algn="ctr" rtl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3200" i="1">
                <a:solidFill>
                  <a:srgbClr val="60606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Quotation Text</a:t>
            </a:r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0" hasCustomPrompt="1"/>
          </p:nvPr>
        </p:nvSpPr>
        <p:spPr>
          <a:xfrm>
            <a:off x="4634951" y="4651423"/>
            <a:ext cx="2785731" cy="1018384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342891" lvl="0" indent="-342891" algn="ctr" rtl="0">
              <a:spcBef>
                <a:spcPts val="0"/>
              </a:spcBef>
              <a:buSzPct val="100000"/>
              <a:buFont typeface="Lora"/>
              <a:buNone/>
              <a:defRPr sz="2400" b="0" i="0">
                <a:solidFill>
                  <a:srgbClr val="606060"/>
                </a:solidFill>
                <a:latin typeface="IBM Plex Sans Medium" charset="0"/>
                <a:ea typeface="IBM Plex Sans Medium" charset="0"/>
                <a:cs typeface="IBM Plex Sans Medium" charset="0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- John Doe</a:t>
            </a:r>
            <a:endParaRPr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24833B-3FDE-0646-BA4C-C77C5B7512D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69209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+ Bullets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1833613"/>
            <a:ext cx="11585575" cy="353007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189" lvl="0" indent="-457189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FFCD00"/>
              </a:buClr>
              <a:buSzPct val="100000"/>
              <a:buFont typeface="Quattrocento Sans"/>
              <a:defRPr sz="2667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8" y="833355"/>
            <a:ext cx="7216775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77ED3A2-748C-6945-9927-CB2ED4B3F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85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659834" y="1246204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68200" y="1282164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65376" y="2797751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659834" y="4443008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68412" y="28337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447896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27" name="Shape 31"/>
          <p:cNvSpPr txBox="1">
            <a:spLocks noGrp="1"/>
          </p:cNvSpPr>
          <p:nvPr>
            <p:ph type="body" idx="1"/>
          </p:nvPr>
        </p:nvSpPr>
        <p:spPr>
          <a:xfrm>
            <a:off x="1476510" y="1732307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hape 31"/>
          <p:cNvSpPr txBox="1">
            <a:spLocks noGrp="1"/>
          </p:cNvSpPr>
          <p:nvPr>
            <p:ph type="body" idx="11"/>
          </p:nvPr>
        </p:nvSpPr>
        <p:spPr>
          <a:xfrm>
            <a:off x="1476510" y="3288065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Shape 31"/>
          <p:cNvSpPr txBox="1">
            <a:spLocks noGrp="1"/>
          </p:cNvSpPr>
          <p:nvPr>
            <p:ph type="body" idx="34"/>
          </p:nvPr>
        </p:nvSpPr>
        <p:spPr>
          <a:xfrm>
            <a:off x="1476510" y="4927483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hape 31"/>
          <p:cNvSpPr txBox="1">
            <a:spLocks noGrp="1"/>
          </p:cNvSpPr>
          <p:nvPr>
            <p:ph type="body" idx="13" hasCustomPrompt="1"/>
          </p:nvPr>
        </p:nvSpPr>
        <p:spPr>
          <a:xfrm>
            <a:off x="1476509" y="1258787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1476509" y="2810333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2" name="Shape 31"/>
          <p:cNvSpPr txBox="1">
            <a:spLocks noGrp="1"/>
          </p:cNvSpPr>
          <p:nvPr>
            <p:ph type="body" idx="15" hasCustomPrompt="1"/>
          </p:nvPr>
        </p:nvSpPr>
        <p:spPr>
          <a:xfrm>
            <a:off x="1476509" y="4455590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82676189-B55D-BA46-9B0A-E263F4CA39C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5650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 userDrawn="1"/>
        </p:nvSpPr>
        <p:spPr>
          <a:xfrm>
            <a:off x="483372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591739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3" name="Oval 32"/>
          <p:cNvSpPr/>
          <p:nvPr userDrawn="1"/>
        </p:nvSpPr>
        <p:spPr>
          <a:xfrm>
            <a:off x="483372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86408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6017740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126108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7" name="Oval 36"/>
          <p:cNvSpPr/>
          <p:nvPr userDrawn="1"/>
        </p:nvSpPr>
        <p:spPr>
          <a:xfrm>
            <a:off x="6017740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120776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39" name="Shape 31"/>
          <p:cNvSpPr txBox="1">
            <a:spLocks noGrp="1"/>
          </p:cNvSpPr>
          <p:nvPr>
            <p:ph type="body" idx="35"/>
          </p:nvPr>
        </p:nvSpPr>
        <p:spPr>
          <a:xfrm>
            <a:off x="1302998" y="1698089"/>
            <a:ext cx="4351399" cy="18312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Shape 31"/>
          <p:cNvSpPr txBox="1">
            <a:spLocks noGrp="1"/>
          </p:cNvSpPr>
          <p:nvPr>
            <p:ph type="body" idx="36" hasCustomPrompt="1"/>
          </p:nvPr>
        </p:nvSpPr>
        <p:spPr>
          <a:xfrm>
            <a:off x="1302997" y="1224570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1" name="Shape 31"/>
          <p:cNvSpPr txBox="1">
            <a:spLocks noGrp="1"/>
          </p:cNvSpPr>
          <p:nvPr>
            <p:ph type="body" idx="37"/>
          </p:nvPr>
        </p:nvSpPr>
        <p:spPr>
          <a:xfrm>
            <a:off x="1291153" y="4314849"/>
            <a:ext cx="4351399" cy="16858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291151" y="3841331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3" name="Shape 31"/>
          <p:cNvSpPr txBox="1">
            <a:spLocks noGrp="1"/>
          </p:cNvSpPr>
          <p:nvPr>
            <p:ph type="body" idx="39"/>
          </p:nvPr>
        </p:nvSpPr>
        <p:spPr>
          <a:xfrm>
            <a:off x="6828874" y="4339898"/>
            <a:ext cx="4351399" cy="1660777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6828873" y="386637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5" name="Shape 31"/>
          <p:cNvSpPr txBox="1">
            <a:spLocks noGrp="1"/>
          </p:cNvSpPr>
          <p:nvPr>
            <p:ph type="body" idx="41"/>
          </p:nvPr>
        </p:nvSpPr>
        <p:spPr>
          <a:xfrm>
            <a:off x="6828873" y="1695019"/>
            <a:ext cx="4351399" cy="186241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6828871" y="122149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706D2B1-A360-B341-ADB5-E352056AA997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3251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68412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35620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464571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6361747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Oval 47"/>
          <p:cNvSpPr/>
          <p:nvPr userDrawn="1"/>
        </p:nvSpPr>
        <p:spPr>
          <a:xfrm>
            <a:off x="635620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6464783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6464571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51" name="Shape 31"/>
          <p:cNvSpPr txBox="1">
            <a:spLocks noGrp="1"/>
          </p:cNvSpPr>
          <p:nvPr>
            <p:ph type="body" idx="37"/>
          </p:nvPr>
        </p:nvSpPr>
        <p:spPr>
          <a:xfrm>
            <a:off x="1470969" y="1808941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470967" y="1335421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3" name="Shape 31"/>
          <p:cNvSpPr txBox="1">
            <a:spLocks noGrp="1"/>
          </p:cNvSpPr>
          <p:nvPr>
            <p:ph type="body" idx="39"/>
          </p:nvPr>
        </p:nvSpPr>
        <p:spPr>
          <a:xfrm>
            <a:off x="7172881" y="1808127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7172879" y="1334607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5" name="Shape 31"/>
          <p:cNvSpPr txBox="1">
            <a:spLocks noGrp="1"/>
          </p:cNvSpPr>
          <p:nvPr>
            <p:ph type="body" idx="41"/>
          </p:nvPr>
        </p:nvSpPr>
        <p:spPr>
          <a:xfrm>
            <a:off x="1487010" y="3375309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1487009" y="2901789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7" name="Shape 31"/>
          <p:cNvSpPr txBox="1">
            <a:spLocks noGrp="1"/>
          </p:cNvSpPr>
          <p:nvPr>
            <p:ph type="body" idx="43"/>
          </p:nvPr>
        </p:nvSpPr>
        <p:spPr>
          <a:xfrm>
            <a:off x="7188922" y="3374495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7188921" y="2900975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9" name="Shape 31"/>
          <p:cNvSpPr txBox="1">
            <a:spLocks noGrp="1"/>
          </p:cNvSpPr>
          <p:nvPr>
            <p:ph type="body" idx="45"/>
          </p:nvPr>
        </p:nvSpPr>
        <p:spPr>
          <a:xfrm>
            <a:off x="1487010" y="5021786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Shape 31"/>
          <p:cNvSpPr txBox="1">
            <a:spLocks noGrp="1"/>
          </p:cNvSpPr>
          <p:nvPr>
            <p:ph type="body" idx="46" hasCustomPrompt="1"/>
          </p:nvPr>
        </p:nvSpPr>
        <p:spPr>
          <a:xfrm>
            <a:off x="1487009" y="4548266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1" name="Shape 31"/>
          <p:cNvSpPr txBox="1">
            <a:spLocks noGrp="1"/>
          </p:cNvSpPr>
          <p:nvPr>
            <p:ph type="body" idx="47"/>
          </p:nvPr>
        </p:nvSpPr>
        <p:spPr>
          <a:xfrm>
            <a:off x="7188922" y="5020973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Shape 31"/>
          <p:cNvSpPr txBox="1">
            <a:spLocks noGrp="1"/>
          </p:cNvSpPr>
          <p:nvPr>
            <p:ph type="body" idx="48" hasCustomPrompt="1"/>
          </p:nvPr>
        </p:nvSpPr>
        <p:spPr>
          <a:xfrm>
            <a:off x="7188921" y="4547453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8E632A6B-9810-4B43-8526-A670C64BFF09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067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487595" y="109985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95962" y="11358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486503" y="23324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80960" y="359686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07827" y="235008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589327" y="363282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504883" y="489383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613250" y="492979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1" name="Oval 40"/>
          <p:cNvSpPr/>
          <p:nvPr userDrawn="1"/>
        </p:nvSpPr>
        <p:spPr>
          <a:xfrm>
            <a:off x="6201908" y="109689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310276" y="113285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200816" y="232945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6195274" y="35939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6303852" y="2365416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6303640" y="362986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7</a:t>
            </a:r>
          </a:p>
        </p:txBody>
      </p:sp>
      <p:sp>
        <p:nvSpPr>
          <p:cNvPr id="63" name="Oval 62"/>
          <p:cNvSpPr/>
          <p:nvPr userDrawn="1"/>
        </p:nvSpPr>
        <p:spPr>
          <a:xfrm>
            <a:off x="6219196" y="4890884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6327564" y="492684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8</a:t>
            </a:r>
          </a:p>
        </p:txBody>
      </p:sp>
      <p:sp>
        <p:nvSpPr>
          <p:cNvPr id="65" name="Shape 31"/>
          <p:cNvSpPr txBox="1">
            <a:spLocks noGrp="1"/>
          </p:cNvSpPr>
          <p:nvPr>
            <p:ph type="body" idx="43"/>
          </p:nvPr>
        </p:nvSpPr>
        <p:spPr>
          <a:xfrm>
            <a:off x="1298730" y="151525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1298729" y="112194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7" name="Shape 31"/>
          <p:cNvSpPr txBox="1">
            <a:spLocks noGrp="1"/>
          </p:cNvSpPr>
          <p:nvPr>
            <p:ph type="body" idx="59"/>
          </p:nvPr>
        </p:nvSpPr>
        <p:spPr>
          <a:xfrm>
            <a:off x="1292094" y="274288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Shape 31"/>
          <p:cNvSpPr txBox="1">
            <a:spLocks noGrp="1"/>
          </p:cNvSpPr>
          <p:nvPr>
            <p:ph type="body" idx="60" hasCustomPrompt="1"/>
          </p:nvPr>
        </p:nvSpPr>
        <p:spPr>
          <a:xfrm>
            <a:off x="1292093" y="236561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9" name="Shape 31"/>
          <p:cNvSpPr txBox="1">
            <a:spLocks noGrp="1"/>
          </p:cNvSpPr>
          <p:nvPr>
            <p:ph type="body" idx="61"/>
          </p:nvPr>
        </p:nvSpPr>
        <p:spPr>
          <a:xfrm>
            <a:off x="1298729" y="400016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Shape 31"/>
          <p:cNvSpPr txBox="1">
            <a:spLocks noGrp="1"/>
          </p:cNvSpPr>
          <p:nvPr>
            <p:ph type="body" idx="62" hasCustomPrompt="1"/>
          </p:nvPr>
        </p:nvSpPr>
        <p:spPr>
          <a:xfrm>
            <a:off x="1298727" y="362289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1" name="Shape 31"/>
          <p:cNvSpPr txBox="1">
            <a:spLocks noGrp="1"/>
          </p:cNvSpPr>
          <p:nvPr>
            <p:ph type="body" idx="63"/>
          </p:nvPr>
        </p:nvSpPr>
        <p:spPr>
          <a:xfrm>
            <a:off x="1298729" y="5283569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Shape 31"/>
          <p:cNvSpPr txBox="1">
            <a:spLocks noGrp="1"/>
          </p:cNvSpPr>
          <p:nvPr>
            <p:ph type="body" idx="64" hasCustomPrompt="1"/>
          </p:nvPr>
        </p:nvSpPr>
        <p:spPr>
          <a:xfrm>
            <a:off x="1298727" y="4906301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3" name="Shape 31"/>
          <p:cNvSpPr txBox="1">
            <a:spLocks noGrp="1"/>
          </p:cNvSpPr>
          <p:nvPr>
            <p:ph type="body" idx="65"/>
          </p:nvPr>
        </p:nvSpPr>
        <p:spPr>
          <a:xfrm>
            <a:off x="7035874" y="1515877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Shape 31"/>
          <p:cNvSpPr txBox="1">
            <a:spLocks noGrp="1"/>
          </p:cNvSpPr>
          <p:nvPr>
            <p:ph type="body" idx="66" hasCustomPrompt="1"/>
          </p:nvPr>
        </p:nvSpPr>
        <p:spPr>
          <a:xfrm>
            <a:off x="7035873" y="112256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5" name="Shape 31"/>
          <p:cNvSpPr txBox="1">
            <a:spLocks noGrp="1"/>
          </p:cNvSpPr>
          <p:nvPr>
            <p:ph type="body" idx="67"/>
          </p:nvPr>
        </p:nvSpPr>
        <p:spPr>
          <a:xfrm>
            <a:off x="7029238" y="274350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Shape 31"/>
          <p:cNvSpPr txBox="1">
            <a:spLocks noGrp="1"/>
          </p:cNvSpPr>
          <p:nvPr>
            <p:ph type="body" idx="68" hasCustomPrompt="1"/>
          </p:nvPr>
        </p:nvSpPr>
        <p:spPr>
          <a:xfrm>
            <a:off x="7029237" y="2366236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7" name="Shape 31"/>
          <p:cNvSpPr txBox="1">
            <a:spLocks noGrp="1"/>
          </p:cNvSpPr>
          <p:nvPr>
            <p:ph type="body" idx="69"/>
          </p:nvPr>
        </p:nvSpPr>
        <p:spPr>
          <a:xfrm>
            <a:off x="7035873" y="400078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Shape 31"/>
          <p:cNvSpPr txBox="1">
            <a:spLocks noGrp="1"/>
          </p:cNvSpPr>
          <p:nvPr>
            <p:ph type="body" idx="70" hasCustomPrompt="1"/>
          </p:nvPr>
        </p:nvSpPr>
        <p:spPr>
          <a:xfrm>
            <a:off x="7035871" y="362351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9" name="Shape 31"/>
          <p:cNvSpPr txBox="1">
            <a:spLocks noGrp="1"/>
          </p:cNvSpPr>
          <p:nvPr>
            <p:ph type="body" idx="71"/>
          </p:nvPr>
        </p:nvSpPr>
        <p:spPr>
          <a:xfrm>
            <a:off x="7035873" y="528419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Shape 31"/>
          <p:cNvSpPr txBox="1">
            <a:spLocks noGrp="1"/>
          </p:cNvSpPr>
          <p:nvPr>
            <p:ph type="body" idx="72" hasCustomPrompt="1"/>
          </p:nvPr>
        </p:nvSpPr>
        <p:spPr>
          <a:xfrm>
            <a:off x="7035871" y="4906925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id="{E47F0787-13C4-0B49-8EB0-300773870C2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8262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2EFA8-86F7-5C31-5104-2B65D804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9DDD42-FE2D-D642-E110-28A55F33B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CB5C9A-7214-BCB4-B9BE-92704796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5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1B8953-B924-11B7-DBFD-A8DFF3195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1870E9-08A1-92E7-76BB-5C5393374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234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st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68412" y="287958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53" name="Shape 31"/>
          <p:cNvSpPr txBox="1">
            <a:spLocks noGrp="1"/>
          </p:cNvSpPr>
          <p:nvPr>
            <p:ph type="body" idx="43"/>
          </p:nvPr>
        </p:nvSpPr>
        <p:spPr>
          <a:xfrm>
            <a:off x="1363341" y="1326414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4"/>
          </p:nvPr>
        </p:nvSpPr>
        <p:spPr>
          <a:xfrm>
            <a:off x="1379383" y="2861918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Shape 31"/>
          <p:cNvSpPr txBox="1">
            <a:spLocks noGrp="1"/>
          </p:cNvSpPr>
          <p:nvPr>
            <p:ph type="body" idx="45"/>
          </p:nvPr>
        </p:nvSpPr>
        <p:spPr>
          <a:xfrm>
            <a:off x="1379383" y="4507175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2C29879-693B-0E4E-97BB-C12E7989994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362239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31"/>
          <p:cNvSpPr txBox="1">
            <a:spLocks noGrp="1"/>
          </p:cNvSpPr>
          <p:nvPr>
            <p:ph type="body" idx="11"/>
          </p:nvPr>
        </p:nvSpPr>
        <p:spPr>
          <a:xfrm>
            <a:off x="303217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303217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0" name="Shape 31"/>
          <p:cNvSpPr txBox="1">
            <a:spLocks noGrp="1"/>
          </p:cNvSpPr>
          <p:nvPr>
            <p:ph type="body" idx="15"/>
          </p:nvPr>
        </p:nvSpPr>
        <p:spPr>
          <a:xfrm>
            <a:off x="3347673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 31"/>
          <p:cNvSpPr txBox="1">
            <a:spLocks noGrp="1"/>
          </p:cNvSpPr>
          <p:nvPr>
            <p:ph type="body" idx="16" hasCustomPrompt="1"/>
          </p:nvPr>
        </p:nvSpPr>
        <p:spPr>
          <a:xfrm>
            <a:off x="3347673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2" name="Shape 31"/>
          <p:cNvSpPr txBox="1">
            <a:spLocks noGrp="1"/>
          </p:cNvSpPr>
          <p:nvPr>
            <p:ph type="body" idx="17"/>
          </p:nvPr>
        </p:nvSpPr>
        <p:spPr>
          <a:xfrm>
            <a:off x="6392129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hape 31"/>
          <p:cNvSpPr txBox="1">
            <a:spLocks noGrp="1"/>
          </p:cNvSpPr>
          <p:nvPr>
            <p:ph type="body" idx="18" hasCustomPrompt="1"/>
          </p:nvPr>
        </p:nvSpPr>
        <p:spPr>
          <a:xfrm>
            <a:off x="6392129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4" name="Shape 31"/>
          <p:cNvSpPr txBox="1">
            <a:spLocks noGrp="1"/>
          </p:cNvSpPr>
          <p:nvPr>
            <p:ph type="body" idx="19"/>
          </p:nvPr>
        </p:nvSpPr>
        <p:spPr>
          <a:xfrm>
            <a:off x="9436585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hape 31"/>
          <p:cNvSpPr txBox="1">
            <a:spLocks noGrp="1"/>
          </p:cNvSpPr>
          <p:nvPr>
            <p:ph type="body" idx="20" hasCustomPrompt="1"/>
          </p:nvPr>
        </p:nvSpPr>
        <p:spPr>
          <a:xfrm>
            <a:off x="9436585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69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Oval 30"/>
          <p:cNvSpPr/>
          <p:nvPr userDrawn="1"/>
        </p:nvSpPr>
        <p:spPr>
          <a:xfrm>
            <a:off x="303216" y="1672522"/>
            <a:ext cx="733793" cy="7337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343956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3322635" y="1672522"/>
            <a:ext cx="733793" cy="7337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36337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8" name="Oval 37"/>
          <p:cNvSpPr/>
          <p:nvPr userDrawn="1"/>
        </p:nvSpPr>
        <p:spPr>
          <a:xfrm>
            <a:off x="6377080" y="1672522"/>
            <a:ext cx="733793" cy="7337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417820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40" name="Oval 39"/>
          <p:cNvSpPr/>
          <p:nvPr userDrawn="1"/>
        </p:nvSpPr>
        <p:spPr>
          <a:xfrm>
            <a:off x="9431525" y="1672522"/>
            <a:ext cx="733793" cy="7337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947226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682D3DF-39CE-2248-A0DC-5F21CF69434F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6473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Questions?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7D1EAEB-2437-A04A-B9D8-EA84FF80D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3016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Thank You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64764F1-ACE4-AC42-9CF5-CBDF23C02AD3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93345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5535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BE95FF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8999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3351C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28549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6810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8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94AF1D2-C05F-0E40-06EC-44B866ADE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9509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424E05-9B4B-3CB3-8F98-766DC4C8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AEDAAC-8BDE-F304-03DD-18A1B9D3B8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3F8521-8206-915F-E423-4C1A340D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6A38F8A-3F01-11E5-8696-A1BF581F1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5/09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055198-1ECE-9180-2B5A-0411B9E4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161EC9-D617-5E29-117C-816924ED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5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1 large, 4 smal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79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9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932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2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918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74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786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33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5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62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3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3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89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E56784-8AF0-8702-828E-E6D86BAD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32CAF8-09D2-B984-6C26-FF18C974D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C23CF5E-64F5-0162-9F6F-61F3F4432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2B90CBD-667F-6829-3447-8C2CA4D94E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32084F-A782-454E-5CEE-16F38F0530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AC5406B-76ED-B1E5-7B74-CE5F711F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5/09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30EA2D7-4829-B682-5C95-F2550E2FF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710E83-E9E8-AB5C-3BFB-AF0F7AF11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54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296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25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02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584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9371FA57-1C35-0825-74D9-10C706C45D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85729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97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4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60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52C5ABE-6F74-7D2F-E9BE-984771008F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57434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6096000" cy="3429003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D7E182F6-853C-0B50-0EB1-9FA63DCC0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1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48DB33-A43A-D551-954D-E80C97F3B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C366D8-04AD-39BB-9F9D-534EBFA6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5/09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1EEB01-1AEF-9AFC-5EB0-701D97AFF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2AEAB-4D2F-2B42-6327-2399256B8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9495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384048" tIns="310896" rIns="384048" bIns="228600"/>
          <a:lstStyle>
            <a:lvl1pPr>
              <a:defRPr sz="63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143A6CD3-E01C-F7D2-5D47-0BF4D2F1A5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8031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453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89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41F2CE3C-A6C6-0A0F-5E97-EA9E92F24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8395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2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63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089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4882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39CD95C-68FA-4C01-B219-9D88AD58E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5/09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3D736AC-D775-D67E-26D2-56210DF64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4FE093D-624F-E034-BB62-A14D0331C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79090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622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2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8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23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637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09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70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9495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5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322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89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995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03F078-1C78-FAEB-4861-B483D91D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6117C3-E91A-571C-B08A-39657AAE0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A753E74-2437-9EFC-0E7B-2A93C57F4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6D8BE4-32EF-0598-A30C-8AAE38B27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5/09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9D5E26F-F1F3-1B02-47BD-36519E00B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BB9DD9-2812-CDF3-3CDF-923927814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765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410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81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82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46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30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8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3330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569DBBD2-81AB-BC8D-5FCE-FCC799BE58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6713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90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1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5C0006-A07B-B935-BB4B-71AF11821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2E7D73C-2AD2-4D9A-0D6C-BC60D73AD9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DFD574-B0D6-3217-6796-CDEEEBA251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470C9A8-D9FF-4558-DA32-8D85E3CB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5/09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6C67A6E-CEFC-13CB-8362-DB31CEFE3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3818F22-EF87-D014-4C93-9C39B7CCD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254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9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E6E72EB9-D363-2D5F-7795-D9168B3B81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9937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72C5EC34-5D8A-9CC9-053E-A37FE077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66182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81BA9788-F15F-FBE9-E68A-A1351991C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2818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55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3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DB4DB5C7-7708-D859-F904-1A40E778B0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74762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09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320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55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82DE541-873F-DAB5-66A6-5C079478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A97245-1AD0-E78B-77C4-C3BC1EA32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7D35C2B-5B36-47BE-C405-1172A4C384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B0D960-4988-4E06-8237-45973EBCFD50}" type="datetimeFigureOut">
              <a:rPr lang="pt-BR" smtClean="0"/>
              <a:t>05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5334D7-1637-2616-BB5B-7546F9299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F56FD9-9B43-262B-DFAE-4E4F2B520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6988B69E-1E70-A3CA-D170-BA8E387C40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03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18B5EE56-40F3-0DBB-EAAB-88303CEFFE7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973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9" r:id="rId27"/>
    <p:sldLayoutId id="2147483792" r:id="rId2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383867"/>
            <a:ext cx="5486313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7"/>
            <a:ext cx="2438309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BF7E8C16-95CB-8E64-B04F-C4C45E77947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79799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75" r:id="rId15"/>
    <p:sldLayoutId id="2147483739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6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38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51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4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463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6pPr>
      <a:lvl7pPr marL="2592395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7pPr>
      <a:lvl8pPr marL="307532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8pPr>
      <a:lvl9pPr marL="355825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292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5861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879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172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465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757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050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343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6D1DCB56-99B2-79AC-402F-3248D14A369C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61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reports.rchland.ibm.com/cgi-bin/sf?TS018425621" TargetMode="External"/><Relationship Id="rId7" Type="http://schemas.openxmlformats.org/officeDocument/2006/relationships/hyperlink" Target="https://reports.rchland.ibm.com/cgi-bin/sf?TS019032254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8898555" TargetMode="External"/><Relationship Id="rId5" Type="http://schemas.openxmlformats.org/officeDocument/2006/relationships/hyperlink" Target="https://reports.rchland.ibm.com/cgi-bin/sf?TS018895482" TargetMode="External"/><Relationship Id="rId4" Type="http://schemas.openxmlformats.org/officeDocument/2006/relationships/hyperlink" Target="https://reports.rchland.ibm.com/cgi-bin/sf?TS018634572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2" Type="http://schemas.openxmlformats.org/officeDocument/2006/relationships/hyperlink" Target="https://ibm.biz/avaliacao-csm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ibm.biz/linkedin-integra-x" TargetMode="External"/><Relationship Id="rId5" Type="http://schemas.openxmlformats.org/officeDocument/2006/relationships/image" Target="../media/image24.png"/><Relationship Id="rId4" Type="http://schemas.openxmlformats.org/officeDocument/2006/relationships/hyperlink" Target="https://ibm.biz/ibm-integra-x" TargetMode="External"/><Relationship Id="rId9" Type="http://schemas.openxmlformats.org/officeDocument/2006/relationships/image" Target="../media/image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rtner.com/reviews/market/event-brokers/vendor/ibm/product/ibm-mq" TargetMode="External"/><Relationship Id="rId13" Type="http://schemas.openxmlformats.org/officeDocument/2006/relationships/hyperlink" Target="https://www.gartner.com/reviews/market/business-process-management-platforms/vendor/ibm/product/ibm-operational-decision-manager" TargetMode="External"/><Relationship Id="rId18" Type="http://schemas.openxmlformats.org/officeDocument/2006/relationships/hyperlink" Target="https://www.g2.com/contributor/ibm-turbonomic-25-usd-2-reward-link?secure%5Bpage_id%5D=ibm-turbonomic-25-usd-2-reward-link&amp;secure%5Brewards%5D=true&amp;secure%5Btoken%5D=32796aa81198b646011e86b0e261e984a48e546359a6b12b5a2c0956cf633fb1&amp;utm_source=ibm&amp;utm_medium=CSM&amp;utm_campaign=email" TargetMode="External"/><Relationship Id="rId26" Type="http://schemas.openxmlformats.org/officeDocument/2006/relationships/image" Target="../media/image36.png"/><Relationship Id="rId3" Type="http://schemas.openxmlformats.org/officeDocument/2006/relationships/image" Target="../media/image28.png"/><Relationship Id="rId21" Type="http://schemas.openxmlformats.org/officeDocument/2006/relationships/image" Target="../media/image1.png"/><Relationship Id="rId7" Type="http://schemas.openxmlformats.org/officeDocument/2006/relationships/hyperlink" Target="https://www.gartner.com/reviews/market/data-and-analytics-others/vendor/ibm/product/ibm-event-streams" TargetMode="External"/><Relationship Id="rId12" Type="http://schemas.openxmlformats.org/officeDocument/2006/relationships/hyperlink" Target="https://www.gartner.com/reviews/market/content-services-platforms/vendor/ibm/product/ibm-filenet-content-manager" TargetMode="External"/><Relationship Id="rId17" Type="http://schemas.openxmlformats.org/officeDocument/2006/relationships/hyperlink" Target="https://www.gartner.com/reviews/market/cloud-management-tooling/vendor/ibm/product/ibm-turbonomic" TargetMode="External"/><Relationship Id="rId25" Type="http://schemas.openxmlformats.org/officeDocument/2006/relationships/image" Target="../media/image35.png"/><Relationship Id="rId2" Type="http://schemas.openxmlformats.org/officeDocument/2006/relationships/image" Target="../media/image27.png"/><Relationship Id="rId16" Type="http://schemas.openxmlformats.org/officeDocument/2006/relationships/hyperlink" Target="https://www.gartner.com/reviews/market/observability-platforms/vendor/ibm/product/ibm-instana-observability" TargetMode="External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artner.com/reviews/market/application-development-integration-and-management-others/vendor/ibm/product/ibm-aspera" TargetMode="External"/><Relationship Id="rId11" Type="http://schemas.openxmlformats.org/officeDocument/2006/relationships/hyperlink" Target="https://www.gartner.com/reviews/market/business-process-management-platforms/vendor/ibm/product/ibm-business-automation-workflow" TargetMode="External"/><Relationship Id="rId24" Type="http://schemas.openxmlformats.org/officeDocument/2006/relationships/image" Target="../media/image34.png"/><Relationship Id="rId5" Type="http://schemas.openxmlformats.org/officeDocument/2006/relationships/hyperlink" Target="https://www.gartner.com/reviews/market/application-integration-platforms/vendor/ibm/product/ibm-app-connect" TargetMode="External"/><Relationship Id="rId15" Type="http://schemas.openxmlformats.org/officeDocument/2006/relationships/hyperlink" Target="https://www.gartner.com/reviews/market/robotic-process-automation/vendor/ibm/product/ibm-robotic-process-automation" TargetMode="External"/><Relationship Id="rId23" Type="http://schemas.openxmlformats.org/officeDocument/2006/relationships/image" Target="../media/image33.png"/><Relationship Id="rId28" Type="http://schemas.openxmlformats.org/officeDocument/2006/relationships/image" Target="../media/image38.png"/><Relationship Id="rId10" Type="http://schemas.openxmlformats.org/officeDocument/2006/relationships/hyperlink" Target="https://www.gartner.com/reviews/market/application-platforms-reviews/vendor/ibm/product/websphere-application-server-liberty-core" TargetMode="External"/><Relationship Id="rId19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hyperlink" Target="https://www.gartner.com/reviews/market/application-platforms-reviews/vendor/ibm/product/websphere-application-server-was" TargetMode="External"/><Relationship Id="rId14" Type="http://schemas.openxmlformats.org/officeDocument/2006/relationships/hyperlink" Target="https://www.gartner.com/reviews/market/process-mining-platforms/vendor/ibm/product/ibm-process-mining" TargetMode="External"/><Relationship Id="rId22" Type="http://schemas.openxmlformats.org/officeDocument/2006/relationships/image" Target="../media/image32.png"/><Relationship Id="rId27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p%20connect%20enterprise" TargetMode="External"/><Relationship Id="rId7" Type="http://schemas.openxmlformats.org/officeDocument/2006/relationships/image" Target="../media/image4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hyperlink" Target="https://www.ibm.com/support/pages/lifecycle/search?q=ibm%20integration%20bus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3.png"/><Relationship Id="rId4" Type="http://schemas.openxmlformats.org/officeDocument/2006/relationships/hyperlink" Target="https://www.ibm.com/support/pages/lifecycle/search?q=ibm%20mq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5.png"/><Relationship Id="rId4" Type="http://schemas.openxmlformats.org/officeDocument/2006/relationships/hyperlink" Target="https://www.ibm.com/support/pages/lifecycle/search?q=ibm%20event%20automation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bm.com/br-pt/cloud-paks" TargetMode="External"/><Relationship Id="rId13" Type="http://schemas.openxmlformats.org/officeDocument/2006/relationships/image" Target="../media/image48.png"/><Relationship Id="rId3" Type="http://schemas.openxmlformats.org/officeDocument/2006/relationships/hyperlink" Target="https://www.ibm.com/products/app-connect" TargetMode="External"/><Relationship Id="rId7" Type="http://schemas.openxmlformats.org/officeDocument/2006/relationships/hyperlink" Target="https://www.ibm.com/products/datapower-gateway" TargetMode="External"/><Relationship Id="rId12" Type="http://schemas.openxmlformats.org/officeDocument/2006/relationships/hyperlink" Target="https://www.ibm.com/docs/en/rpa/23.0?topic=server-installing-rpa-other-cloud-paks" TargetMode="External"/><Relationship Id="rId2" Type="http://schemas.openxmlformats.org/officeDocument/2006/relationships/hyperlink" Target="https://www.ibm.com/products/api-connect" TargetMode="External"/><Relationship Id="rId16" Type="http://schemas.openxmlformats.org/officeDocument/2006/relationships/hyperlink" Target="https://www.ibm.com/products/process-mining" TargetMode="Externa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www.ibm.com/products/aspera" TargetMode="External"/><Relationship Id="rId11" Type="http://schemas.openxmlformats.org/officeDocument/2006/relationships/hyperlink" Target="https://www.ibm.com/docs/pt-br/process-mining/1.14.4?topic=installation-installing-process-mining-in-cloud-pak" TargetMode="External"/><Relationship Id="rId5" Type="http://schemas.openxmlformats.org/officeDocument/2006/relationships/hyperlink" Target="https://www.ibm.com/products/mq" TargetMode="External"/><Relationship Id="rId15" Type="http://schemas.openxmlformats.org/officeDocument/2006/relationships/hyperlink" Target="https://www.ibm.com/br-pt/products/robotic-process-automation" TargetMode="External"/><Relationship Id="rId10" Type="http://schemas.openxmlformats.org/officeDocument/2006/relationships/hyperlink" Target="https://www.ibm.com/docs/en/cloud-paks/cp-integration/2023.4?topic=planning-licensing" TargetMode="External"/><Relationship Id="rId4" Type="http://schemas.openxmlformats.org/officeDocument/2006/relationships/hyperlink" Target="https://www.ibm.com/products/event-automation" TargetMode="External"/><Relationship Id="rId9" Type="http://schemas.openxmlformats.org/officeDocument/2006/relationships/hyperlink" Target="https://www.ibm.com/integration" TargetMode="External"/><Relationship Id="rId14" Type="http://schemas.openxmlformats.org/officeDocument/2006/relationships/image" Target="../media/image4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" name="Picture" descr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51" y="6277006"/>
            <a:ext cx="584201" cy="231615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1FB80CAE-56CE-204B-59E2-470DD56211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388" y="841234"/>
            <a:ext cx="5619212" cy="3163607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IBM </a:t>
            </a:r>
            <a:br>
              <a:rPr lang="en-US" dirty="0"/>
            </a:br>
            <a:br>
              <a:rPr lang="en-US" dirty="0"/>
            </a:br>
            <a:r>
              <a:rPr lang="en-US" sz="3200" dirty="0" err="1"/>
              <a:t>Resumo</a:t>
            </a:r>
            <a:r>
              <a:rPr lang="en-US" sz="3200" dirty="0"/>
              <a:t> </a:t>
            </a:r>
            <a:r>
              <a:rPr lang="en-US" sz="3200" dirty="0" err="1"/>
              <a:t>Executivo</a:t>
            </a:r>
            <a:br>
              <a:rPr lang="en-US" sz="3200" dirty="0"/>
            </a:br>
            <a:r>
              <a:rPr lang="en-US" sz="3200" dirty="0"/>
              <a:t>Contas Enterprise - Strategic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ED6049-C5E9-C4E2-9AFE-E17E79244F6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568282" y="4862520"/>
            <a:ext cx="974725" cy="97155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5CC9460-4912-3906-F099-586FECD86DEB}"/>
              </a:ext>
            </a:extLst>
          </p:cNvPr>
          <p:cNvSpPr txBox="1"/>
          <p:nvPr/>
        </p:nvSpPr>
        <p:spPr>
          <a:xfrm>
            <a:off x="1598782" y="4812709"/>
            <a:ext cx="4293483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Alexandre Zanetti</a:t>
            </a:r>
          </a:p>
          <a:p>
            <a:r>
              <a:rPr lang="pt-BR" sz="1400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55 (11) 98539-4632</a:t>
            </a:r>
          </a:p>
          <a:p>
            <a:r>
              <a:rPr lang="en-US" sz="1400" dirty="0">
                <a:solidFill>
                  <a:schemeClr val="bg1"/>
                </a:solidFill>
                <a:effectLst/>
              </a:rPr>
              <a:t>Advisory Customer Success Manager Technical Specialis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44CC79-D79C-BF0C-82C8-75A442AF8EFE}"/>
              </a:ext>
            </a:extLst>
          </p:cNvPr>
          <p:cNvSpPr txBox="1"/>
          <p:nvPr/>
        </p:nvSpPr>
        <p:spPr>
          <a:xfrm>
            <a:off x="3630027" y="6323955"/>
            <a:ext cx="24513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05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Setembr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5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454A3E54-B978-F6A0-F24D-91B575DF7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4519" y="1711729"/>
            <a:ext cx="3670499" cy="3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5198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876DFEE-F4BB-95C4-F0C3-B156092B46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863D7D75-A156-1E92-AD4D-82E0EE5CD7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BEC1AD-D2D1-AFC7-2254-5F3EA73F26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90DBD65-3E48-364A-752F-29D4DCFE1E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EA1B64-D547-4765-76FF-895A2C0FB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38D38A-0E35-2419-43F2-CC79ECDED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0C320F9-D238-CEC2-06C5-E3ADD953483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DA2687-7046-5E94-AB55-A269BF86973C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2DBF5B-D60A-683E-6EEC-8AA9185B7D6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</a:t>
            </a:r>
            <a:r>
              <a:rPr lang="en-US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á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Pedrero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1/05/2025</a:t>
            </a:r>
            <a:b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900" dirty="0">
                <a:solidFill>
                  <a:schemeClr val="tx1"/>
                </a:solidFill>
              </a:rPr>
              <a:t>16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3/07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8/2026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7/08/2026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3/09/2026</a:t>
            </a:r>
          </a:p>
          <a:p>
            <a:pPr marL="0" lvl="2" algn="ctr"/>
            <a:endParaRPr lang="pt-BR" sz="10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FC70FF1F-AB8A-C3B2-3120-9FA37E18432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6A92704-32FA-CBC6-7540-D7F34F23DE68}"/>
              </a:ext>
            </a:extLst>
          </p:cNvPr>
          <p:cNvGrpSpPr/>
          <p:nvPr/>
        </p:nvGrpSpPr>
        <p:grpSpPr>
          <a:xfrm>
            <a:off x="131121" y="104706"/>
            <a:ext cx="1164886" cy="1267044"/>
            <a:chOff x="638224" y="71121"/>
            <a:chExt cx="1164886" cy="12670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6C8B37D-FE8F-E057-9F55-7257FA6D115B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Event Automation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2" descr="AWS Marketplace: IBM Event Automation (software)">
              <a:extLst>
                <a:ext uri="{FF2B5EF4-FFF2-40B4-BE49-F238E27FC236}">
                  <a16:creationId xmlns:a16="http://schemas.microsoft.com/office/drawing/2014/main" id="{A6E9F4D1-C88F-A69F-FE26-C259B916EE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686" y="116090"/>
              <a:ext cx="914997" cy="861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E90B62B-273E-6DDF-F310-20DEC4160055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F907BC2-6B16-19E4-C74D-29F5149B5BAB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6D2B9C8-3938-0557-7D05-644F94617DC2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5CC490E-0E1A-FC1E-E307-CC4DBE4E37F4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3DF6B22-3E91-C067-5409-8A30BD51BCD4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105204D-BA0B-72FD-2BE4-90C13A8363AA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BABF55A-1777-D3AF-690B-9C1FDD1D0209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EEB4F97-70A8-0BE2-DD0A-7377CD9762D1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8" name="Straight Arrow Connector 4">
                <a:extLst>
                  <a:ext uri="{FF2B5EF4-FFF2-40B4-BE49-F238E27FC236}">
                    <a16:creationId xmlns:a16="http://schemas.microsoft.com/office/drawing/2014/main" id="{FD7BA099-C91A-8F4C-5E56-FA24A679E4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3B2E668E-A7F8-B224-31AB-08EB36B6B8F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800C6AD3-70DB-8301-D9F2-B1FF6019A09A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4DF34705-6976-F9FE-691C-A9CB9133FA4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2B50D29F-E327-0FE6-3C03-F96D4577CF4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F48D90B7-37C2-36FA-AB09-FE197D2CAAF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B905FA01-8349-0971-F2DF-31C3EF970E0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2" name="Oval 6">
                <a:extLst>
                  <a:ext uri="{FF2B5EF4-FFF2-40B4-BE49-F238E27FC236}">
                    <a16:creationId xmlns:a16="http://schemas.microsoft.com/office/drawing/2014/main" id="{4E840AED-C1F2-2607-ED75-42E8A8CFC1A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17E591F-1B2D-E9C4-DED9-4534D2C0F731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2152007-8B01-4E85-0E99-C0452B4D988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492E134-105F-D8D3-65C3-AD3C18FAAB0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8268944-49C7-E857-A8D6-9154D0C3A4E5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2E7351D-23B5-5478-0DA4-98595EEBA6B1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92F76E10-7670-2451-6C63-6CDCCE95A2CE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D18B550-6D50-4499-C093-DE9BE26F1D5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0" name="Straight Arrow Connector 4">
                <a:extLst>
                  <a:ext uri="{FF2B5EF4-FFF2-40B4-BE49-F238E27FC236}">
                    <a16:creationId xmlns:a16="http://schemas.microsoft.com/office/drawing/2014/main" id="{1E9D868E-864C-8688-9551-BA61610DA1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">
                <a:extLst>
                  <a:ext uri="{FF2B5EF4-FFF2-40B4-BE49-F238E27FC236}">
                    <a16:creationId xmlns:a16="http://schemas.microsoft.com/office/drawing/2014/main" id="{1E4B8CF9-7A38-A17D-3E91-203ABBB7B53B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453E6159-0141-F739-95C1-33271832FBF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4C9ABE26-64AA-EC00-9A15-77C529323AB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393A6C7C-45E9-B3DD-7409-1F88608A113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C870B983-0753-10A3-F971-1233457166D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62F7B321-F20E-D98D-9D0C-25586CBD281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4" name="Oval 6">
                <a:extLst>
                  <a:ext uri="{FF2B5EF4-FFF2-40B4-BE49-F238E27FC236}">
                    <a16:creationId xmlns:a16="http://schemas.microsoft.com/office/drawing/2014/main" id="{6A635C99-EF6C-9C07-38E8-0D1F2997288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662699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8E0FA59-C236-7A5A-5825-D18EF39AB7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BCB0810D-B281-CB21-EDB2-EF46363377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E6043-0757-924D-13C0-C52754B222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1B176D-45ED-DD4E-D320-7FFF34AF27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94671D-07DC-9673-4843-F8C4EC8C2E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24AFA-CF74-4BB6-AA1F-269737E0C2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B95CB9-17E2-12E9-6CDB-21E389A7B5D2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L</a:t>
            </a: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D9BBF5-8413-A3F8-55C6-8267E0E24F1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D3E6C24-C600-EDF5-FE96-CC9CA4E0660D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4/05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2FB6F2-82AE-2F5B-3DB9-00D912B5414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6FCA8D6-2E18-AD0B-7C7D-FD794E6C10E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F8E85BD-0218-3558-4011-6DA5782B490C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203FBFF-04F4-695D-ACFC-FF35DB8DE6CA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7D183D6-A530-5278-BEA3-F43FF8BE8EC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AD4C948-5468-221D-166A-CD899DB564DE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6A9AEA1-9A4C-F748-69D8-B0CB2EBECEA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09DE3D9-4918-793F-EC2A-23176A6D2CD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E9910524-32CE-2FFD-70DD-239E05F021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2045F14F-B6F5-A25E-C8AA-A6E524342205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6ECC9496-8620-EB9B-D59F-8FDC4DD803F8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FC86DFE-5BC6-8DF4-F925-12480151789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AFF2EBB0-481D-417F-2371-23F635DF82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3C4C96C9-93A5-D3A4-B34C-A16D6B996030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A4EBD6E4-E132-BCA3-3E61-869D4FDC16F0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5BB8C42A-4C9A-956F-F803-8C6922BF588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6819D3D-606B-8121-1905-39DCF5F5C9F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F61606C-FFB3-D80E-7DA5-5E7C29A943D7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298C0AD-BF80-A291-8C3B-DCCADFD675E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7342A6D-203F-01A7-208F-97F700E5374A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L explicou pedido do banco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custo/solução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B89EA06-D9D1-02B6-09A4-800E17FDE657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custo/solução  Erick OK 09/05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apresentação EL  OK 14/05</a:t>
              </a:r>
              <a:endParaRPr lang="en-US" sz="700" strike="sngStrik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E523B33-5D0C-4EE1-CD90-3C28B6202B61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67BD042-0EFF-625A-9A60-09BFA3C04F1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B8EEF3BA-C344-FD27-DDB5-50FCCD6037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D917A5CA-BE8A-0935-D1B3-85E1B8FCA33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DD715DF8-A8E3-DE54-46B0-7489C5485766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09A0A21-FA9D-A6D8-EE8F-74CF1AF9718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1F5147F9-495D-D73E-9DA9-ABBABC5427F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176EBC6A-6FA2-E316-1FBC-F829B19AEBB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C7CEA072-9FC4-3A41-261C-9CB9D4771D6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7A159C64-A2E8-4033-5802-50DA0D2CC6A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D92BCCD2-3A2A-D451-79A1-DF46834229A9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5EA2985-6653-DD7B-D1FA-3B0D1FA96E72}"/>
              </a:ext>
            </a:extLst>
          </p:cNvPr>
          <p:cNvGrpSpPr/>
          <p:nvPr/>
        </p:nvGrpSpPr>
        <p:grpSpPr>
          <a:xfrm>
            <a:off x="145159" y="106980"/>
            <a:ext cx="1164886" cy="1267044"/>
            <a:chOff x="638224" y="71121"/>
            <a:chExt cx="1164886" cy="1267044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3D28539-E8A2-BC1C-EFB5-5DFA8DA2835B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</a:t>
              </a:r>
              <a:r>
                <a:rPr lang="pt-BR" sz="1100" b="1" dirty="0" err="1">
                  <a:solidFill>
                    <a:schemeClr val="tx1"/>
                  </a:solidFill>
                </a:rPr>
                <a:t>Aspera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51" name="Picture 4" descr="IBM Cloud Pak for Integration | IBM CP4I">
              <a:extLst>
                <a:ext uri="{FF2B5EF4-FFF2-40B4-BE49-F238E27FC236}">
                  <a16:creationId xmlns:a16="http://schemas.microsoft.com/office/drawing/2014/main" id="{68A52A51-4BEF-5E74-D4CF-50920BB6580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761823" y="159667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600876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39B9236-B046-4EC7-804C-AB1AE5514E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39CA88D3-F832-5184-5496-2D2594BE4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F597EC-9719-12E6-75CF-C7FE2B2F40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C902EA-DD59-234F-7CFE-7841DA19C2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DD72B3-BE35-63EF-1B49-5A18D0505A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C6AB6A5-B744-BF36-94A0-A336E1420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685B8A-90C4-0171-7F1F-2BE4587F2D3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L</a:t>
            </a: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4CC7AF5-640E-9A43-0679-3853A71FB6C4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28EA8F-0B64-5CFD-35E7-8571FA4E816E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endParaRPr lang="en-US" sz="1200" dirty="0">
              <a:solidFill>
                <a:schemeClr val="tx1"/>
              </a:solidFill>
            </a:endParaRP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9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4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6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3/07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8/2026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7/08/2026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3/09/2026</a:t>
            </a:r>
          </a:p>
          <a:p>
            <a:pPr marL="0" lvl="2" algn="ctr"/>
            <a:endParaRPr lang="pt-BR" sz="10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900" dirty="0">
              <a:solidFill>
                <a:schemeClr val="tx1"/>
              </a:solidFill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72124D6D-70FB-00B4-CC5D-500DCEB30BC0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E84C1AD-2030-5870-E72E-B75F275B80A7}"/>
              </a:ext>
            </a:extLst>
          </p:cNvPr>
          <p:cNvGrpSpPr/>
          <p:nvPr/>
        </p:nvGrpSpPr>
        <p:grpSpPr>
          <a:xfrm>
            <a:off x="145159" y="106980"/>
            <a:ext cx="1164886" cy="1267044"/>
            <a:chOff x="638224" y="71121"/>
            <a:chExt cx="1164886" cy="1267044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1E19879-8C79-CE36-40B0-F58C030C3719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</a:t>
              </a:r>
              <a:r>
                <a:rPr lang="pt-BR" sz="1100" b="1" dirty="0" err="1">
                  <a:solidFill>
                    <a:schemeClr val="tx1"/>
                  </a:solidFill>
                </a:rPr>
                <a:t>Aspera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51" name="Picture 4" descr="IBM Cloud Pak for Integration | IBM CP4I">
              <a:extLst>
                <a:ext uri="{FF2B5EF4-FFF2-40B4-BE49-F238E27FC236}">
                  <a16:creationId xmlns:a16="http://schemas.microsoft.com/office/drawing/2014/main" id="{631113F5-E5F1-8A24-AE7A-956D4C95195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761823" y="159667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8D268AB-965C-C250-0D1F-C33F1BB0A146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8CD687C-FAEC-B1C5-7638-CADBEEDEEC85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C0E6D19-441B-73B1-BB37-62140F2F699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4691070-C4A2-77C8-57A1-32ED7503EE65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8C5B9B3-F82B-CDA6-0CEF-1C7C1C0EC81E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ando agenda para iniciar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D54B93D-E70C-11A6-3E95-3C2DA3641534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C9D90A7-DE59-24DD-2095-E5827D4C1051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B6EF360E-5AD4-0AC4-420A-ADDB408F8E3C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8" name="Straight Arrow Connector 4">
                <a:extLst>
                  <a:ext uri="{FF2B5EF4-FFF2-40B4-BE49-F238E27FC236}">
                    <a16:creationId xmlns:a16="http://schemas.microsoft.com/office/drawing/2014/main" id="{DB609496-3787-5C29-6A70-896DB79B4B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28828DA6-E3C4-DEFF-29A8-278C4241E4B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A136EF49-3E01-36BA-086A-4CC6CB603D3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AFF4BF7F-AEDE-C43E-6405-887AE04FCAD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8AEB7F53-5E30-E2A9-FABC-C978CACA8A1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B24973B0-3C89-ADFC-CEF4-24E0210809B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5465B40A-C796-EDDB-8E57-3C671DF8E57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2" name="Oval 6">
                <a:extLst>
                  <a:ext uri="{FF2B5EF4-FFF2-40B4-BE49-F238E27FC236}">
                    <a16:creationId xmlns:a16="http://schemas.microsoft.com/office/drawing/2014/main" id="{C56586C4-CC4F-6879-82AF-5987643258D9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85BE1507-87E2-E462-7592-11298DFD0FC1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3EA027F-86F1-880D-2BB9-52F5811F64CE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2F59243-343D-EA82-253E-D4E5E9BAC1B8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1ABE4715-E03E-ACCA-0C50-6C033CA1E1D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658D124-A563-2567-E45F-D4F10E93AC8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1356357-76F9-44EA-5A38-DCF522576C8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81F310B8-40B6-550A-7EC0-B4741CD3DE2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0" name="Straight Arrow Connector 4">
                <a:extLst>
                  <a:ext uri="{FF2B5EF4-FFF2-40B4-BE49-F238E27FC236}">
                    <a16:creationId xmlns:a16="http://schemas.microsoft.com/office/drawing/2014/main" id="{B25BA25A-3EA3-9709-FFBB-A37D6FF929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">
                <a:extLst>
                  <a:ext uri="{FF2B5EF4-FFF2-40B4-BE49-F238E27FC236}">
                    <a16:creationId xmlns:a16="http://schemas.microsoft.com/office/drawing/2014/main" id="{B06347A0-B8D4-5C93-D81F-F926AE2B756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DB6E0BA9-C19F-5B6E-91A0-9EEC4C38DEB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A676BFAC-7028-7ADD-6BA5-7AE50342147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4A4F1AD1-6873-7B6C-492B-25327078E8C5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B0470F95-B712-8F18-93FA-7E41ACF722E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123D6B85-14BB-6D57-1BE2-BF7599B59CFC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4" name="Oval 6">
                <a:extLst>
                  <a:ext uri="{FF2B5EF4-FFF2-40B4-BE49-F238E27FC236}">
                    <a16:creationId xmlns:a16="http://schemas.microsoft.com/office/drawing/2014/main" id="{8C9611E9-FA37-6585-0C52-729C2459B755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0261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E7707FC-0DF0-756C-DBE7-E07333B716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5147BB0-BE53-9F58-DCA5-5ECEB6FEA5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D9C84D-63FC-1CD5-F423-E6C90BE85B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92BF30-5C6D-F7D1-1B30-44A92EF902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28808DC-9D7E-CCC3-DC14-EE2300298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C054CB-1740-C720-0783-3F135CD27B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FD0CBFA3-FB99-F5AF-7080-CE9BB051EA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B4CBA59E-EE64-84EA-2D15-7B446CBDE1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0762354"/>
              </p:ext>
            </p:extLst>
          </p:nvPr>
        </p:nvGraphicFramePr>
        <p:xfrm>
          <a:off x="271572" y="979164"/>
          <a:ext cx="10153650" cy="12973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3579">
                  <a:extLst>
                    <a:ext uri="{9D8B030D-6E8A-4147-A177-3AD203B41FA5}">
                      <a16:colId xmlns:a16="http://schemas.microsoft.com/office/drawing/2014/main" val="3145613429"/>
                    </a:ext>
                  </a:extLst>
                </a:gridCol>
                <a:gridCol w="928373">
                  <a:extLst>
                    <a:ext uri="{9D8B030D-6E8A-4147-A177-3AD203B41FA5}">
                      <a16:colId xmlns:a16="http://schemas.microsoft.com/office/drawing/2014/main" val="108644887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610481453"/>
                    </a:ext>
                  </a:extLst>
                </a:gridCol>
                <a:gridCol w="252136">
                  <a:extLst>
                    <a:ext uri="{9D8B030D-6E8A-4147-A177-3AD203B41FA5}">
                      <a16:colId xmlns:a16="http://schemas.microsoft.com/office/drawing/2014/main" val="3814621343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4147828085"/>
                    </a:ext>
                  </a:extLst>
                </a:gridCol>
                <a:gridCol w="1154113">
                  <a:extLst>
                    <a:ext uri="{9D8B030D-6E8A-4147-A177-3AD203B41FA5}">
                      <a16:colId xmlns:a16="http://schemas.microsoft.com/office/drawing/2014/main" val="3165954247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718490208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435269843"/>
                    </a:ext>
                  </a:extLst>
                </a:gridCol>
                <a:gridCol w="1052810">
                  <a:extLst>
                    <a:ext uri="{9D8B030D-6E8A-4147-A177-3AD203B41FA5}">
                      <a16:colId xmlns:a16="http://schemas.microsoft.com/office/drawing/2014/main" val="2541432101"/>
                    </a:ext>
                  </a:extLst>
                </a:gridCol>
                <a:gridCol w="626929">
                  <a:extLst>
                    <a:ext uri="{9D8B030D-6E8A-4147-A177-3AD203B41FA5}">
                      <a16:colId xmlns:a16="http://schemas.microsoft.com/office/drawing/2014/main" val="1869919414"/>
                    </a:ext>
                  </a:extLst>
                </a:gridCol>
                <a:gridCol w="796037">
                  <a:extLst>
                    <a:ext uri="{9D8B030D-6E8A-4147-A177-3AD203B41FA5}">
                      <a16:colId xmlns:a16="http://schemas.microsoft.com/office/drawing/2014/main" val="4171522205"/>
                    </a:ext>
                  </a:extLst>
                </a:gridCol>
                <a:gridCol w="958928">
                  <a:extLst>
                    <a:ext uri="{9D8B030D-6E8A-4147-A177-3AD203B41FA5}">
                      <a16:colId xmlns:a16="http://schemas.microsoft.com/office/drawing/2014/main" val="3168858158"/>
                    </a:ext>
                  </a:extLst>
                </a:gridCol>
                <a:gridCol w="919780">
                  <a:extLst>
                    <a:ext uri="{9D8B030D-6E8A-4147-A177-3AD203B41FA5}">
                      <a16:colId xmlns:a16="http://schemas.microsoft.com/office/drawing/2014/main" val="2451055448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07839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"/>
                        </a:rPr>
                        <a:t>TS0184256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1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2965648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86345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618390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889548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2703321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889855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3452466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903225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41349778"/>
                  </a:ext>
                </a:extLst>
              </a:tr>
            </a:tbl>
          </a:graphicData>
        </a:graphic>
      </p:graphicFrame>
      <p:sp>
        <p:nvSpPr>
          <p:cNvPr id="23" name="Title 1">
            <a:extLst>
              <a:ext uri="{FF2B5EF4-FFF2-40B4-BE49-F238E27FC236}">
                <a16:creationId xmlns:a16="http://schemas.microsoft.com/office/drawing/2014/main" id="{2F973CF5-E546-9B4F-DEF6-39F4E09AB846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Cases</a:t>
            </a:r>
            <a:endParaRPr lang="en-US" sz="36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3301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4A2155-4275-C69B-A816-F57B0794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4738240-91FB-7AF4-F9C0-CD69A859EF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F9EBC2-F1B7-B4DB-EBE2-1011D1E70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093975-CB02-AE6F-C1E0-0579A2D07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CEAF40-FBCE-78D2-2B72-2CD4DF0CAB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AFA16E-76FF-DCF0-5F29-9A0716AE1F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EE3443B3-8146-56B9-7464-DACB6B1FC9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21161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3F06668-E22E-1CA6-9FDA-1F2D6722D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2" y="21160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1F507B-DF78-9C3D-2CB9-2841BFA4E4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4" y="21161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E39C61B-8C2F-A007-FF32-59E06D5C20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8" y="21160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00C61E6-3B9B-F878-C732-6E9F00CD6F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49" y="21160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A647C99-AC79-FF8F-AD87-ADED38591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8" y="315699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pt-BR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Avaliação do CSM &amp; Grupos de discussõe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valuation &amp; Group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52B8BFF-9797-E153-6FCB-05811AAF91AB}"/>
              </a:ext>
            </a:extLst>
          </p:cNvPr>
          <p:cNvGrpSpPr/>
          <p:nvPr/>
        </p:nvGrpSpPr>
        <p:grpSpPr>
          <a:xfrm>
            <a:off x="1132339" y="2736610"/>
            <a:ext cx="3564355" cy="3774741"/>
            <a:chOff x="654361" y="2392188"/>
            <a:chExt cx="3564355" cy="3774741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487A738-661B-76F4-98D3-92E75A59F30B}"/>
                </a:ext>
              </a:extLst>
            </p:cNvPr>
            <p:cNvSpPr>
              <a:spLocks/>
            </p:cNvSpPr>
            <p:nvPr/>
          </p:nvSpPr>
          <p:spPr>
            <a:xfrm>
              <a:off x="654361" y="2392188"/>
              <a:ext cx="3564355" cy="37747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r>
                <a:rPr lang="pt-BR" dirty="0">
                  <a:solidFill>
                    <a:schemeClr val="tx1"/>
                  </a:solidFill>
                  <a:hlinkClick r:id="rId2"/>
                </a:rPr>
                <a:t>https://ibm.biz/avaliacao-csm</a:t>
              </a:r>
              <a:r>
                <a:rPr lang="pt-BR" dirty="0">
                  <a:solidFill>
                    <a:schemeClr val="tx1"/>
                  </a:solidFill>
                </a:rPr>
                <a:t> 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F67D07C-2612-280B-2770-132F6ECAE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86544" y="3142467"/>
              <a:ext cx="2470910" cy="2481653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B23F29B-B1B5-8B04-1E3C-F0D776D1EB4F}"/>
              </a:ext>
            </a:extLst>
          </p:cNvPr>
          <p:cNvGrpSpPr/>
          <p:nvPr/>
        </p:nvGrpSpPr>
        <p:grpSpPr>
          <a:xfrm>
            <a:off x="5485136" y="2049687"/>
            <a:ext cx="5781821" cy="3220279"/>
            <a:chOff x="4210106" y="2196804"/>
            <a:chExt cx="7521102" cy="409076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9AC44EF-8808-9CAA-DFF2-C01BBC7BCC05}"/>
                </a:ext>
              </a:extLst>
            </p:cNvPr>
            <p:cNvSpPr>
              <a:spLocks/>
            </p:cNvSpPr>
            <p:nvPr/>
          </p:nvSpPr>
          <p:spPr>
            <a:xfrm>
              <a:off x="4210106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IBM </a:t>
              </a:r>
              <a:r>
                <a:rPr lang="pt-BR" sz="1600" dirty="0" err="1">
                  <a:solidFill>
                    <a:schemeClr val="tx1"/>
                  </a:solidFill>
                </a:rPr>
                <a:t>User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r>
                <a:rPr lang="pt-BR" sz="1600" dirty="0" err="1">
                  <a:solidFill>
                    <a:schemeClr val="tx1"/>
                  </a:solidFill>
                </a:rPr>
                <a:t>Group</a:t>
              </a:r>
              <a:r>
                <a:rPr lang="pt-BR" sz="1600" dirty="0">
                  <a:solidFill>
                    <a:schemeClr val="tx1"/>
                  </a:solidFill>
                </a:rPr>
                <a:t> Community</a:t>
              </a:r>
            </a:p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4"/>
                </a:rPr>
                <a:t>https://ibm.biz/ibm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F7D47A7-5CED-4BA5-2CF7-25F87B3EEE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65143" y="2919641"/>
              <a:ext cx="2648151" cy="2693611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72A1A97-648C-052C-E2C3-4BF4920E755E}"/>
                </a:ext>
              </a:extLst>
            </p:cNvPr>
            <p:cNvSpPr>
              <a:spLocks/>
            </p:cNvSpPr>
            <p:nvPr/>
          </p:nvSpPr>
          <p:spPr>
            <a:xfrm>
              <a:off x="7970657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LinkedIn</a:t>
              </a: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6"/>
                </a:rPr>
                <a:t>https://ibm.biz/linkedin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A0F8F408-6F90-13C7-4F2E-E7E02EEA1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01648" y="2934689"/>
              <a:ext cx="2716344" cy="2670881"/>
            </a:xfrm>
            <a:prstGeom prst="rect">
              <a:avLst/>
            </a:prstGeom>
          </p:spPr>
        </p:pic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67BC115-3D9E-B251-BA13-16E0C695823D}"/>
              </a:ext>
            </a:extLst>
          </p:cNvPr>
          <p:cNvSpPr/>
          <p:nvPr/>
        </p:nvSpPr>
        <p:spPr>
          <a:xfrm>
            <a:off x="5484545" y="5269966"/>
            <a:ext cx="5783004" cy="1241385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ticipe da nossa comunidade                                       a</a:t>
            </a:r>
            <a:endParaRPr lang="en-US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70E10A7D-3B33-7B5E-CBDE-F00874E34C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9" t="27196" r="25457" b="25384"/>
          <a:stretch>
            <a:fillRect/>
          </a:stretch>
        </p:blipFill>
        <p:spPr>
          <a:xfrm>
            <a:off x="8800633" y="5443174"/>
            <a:ext cx="2128898" cy="781692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94C8EFC6-F954-FCA5-9587-21554E8A0B1D}"/>
              </a:ext>
            </a:extLst>
          </p:cNvPr>
          <p:cNvSpPr/>
          <p:nvPr/>
        </p:nvSpPr>
        <p:spPr>
          <a:xfrm>
            <a:off x="1132339" y="2049687"/>
            <a:ext cx="3564355" cy="686923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ode me avaliar?</a:t>
            </a:r>
            <a:endParaRPr lang="en-US" dirty="0"/>
          </a:p>
        </p:txBody>
      </p:sp>
      <p:pic>
        <p:nvPicPr>
          <p:cNvPr id="33" name="logo2-04.png" descr="logo2-04.png">
            <a:extLst>
              <a:ext uri="{FF2B5EF4-FFF2-40B4-BE49-F238E27FC236}">
                <a16:creationId xmlns:a16="http://schemas.microsoft.com/office/drawing/2014/main" id="{C4992519-0D15-A13F-7BB8-18C4ADFA510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7990" y="2898162"/>
            <a:ext cx="2404477" cy="71124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182251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A683BEF-64CC-3BD6-6511-E153B38024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5DB74849-7C7B-E14F-A4A8-658510257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D9E17B-3F4B-6E33-9E3E-0D52E9ED9C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A154AF4-FB68-D910-748B-4AAFDBC547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4D9459-3C64-F46D-D442-9EC3A172BD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522587-0735-F20E-9E94-5DB1197B9A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F81FE24-D273-5ECF-61FB-1EFEA6664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Referências Externas (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</a:t>
            </a: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: Gartner)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ternal referen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53B8F9-F138-D4FB-C7E3-37FF65BDC905}"/>
              </a:ext>
            </a:extLst>
          </p:cNvPr>
          <p:cNvSpPr>
            <a:spLocks/>
          </p:cNvSpPr>
          <p:nvPr/>
        </p:nvSpPr>
        <p:spPr>
          <a:xfrm>
            <a:off x="104820" y="1688044"/>
            <a:ext cx="7330361" cy="324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dirty="0">
                <a:solidFill>
                  <a:schemeClr val="tx1"/>
                </a:solidFill>
              </a:rPr>
              <a:t>Passo 1 – Escolher o produto para avaliar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658E8B5-CFCC-6597-A539-559E5C0D73D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0" t="5982" r="4354"/>
          <a:stretch/>
        </p:blipFill>
        <p:spPr>
          <a:xfrm>
            <a:off x="256150" y="2227949"/>
            <a:ext cx="980336" cy="99249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25F192A-2F9C-28F0-9478-CD4A895DAF60}"/>
              </a:ext>
            </a:extLst>
          </p:cNvPr>
          <p:cNvSpPr/>
          <p:nvPr/>
        </p:nvSpPr>
        <p:spPr>
          <a:xfrm>
            <a:off x="889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CE/Brok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20ED8-71A4-1B17-EBA5-76D775E840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368" y="2238337"/>
            <a:ext cx="978873" cy="9724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92085FB-ACB2-FF32-673A-F303C2F8289E}"/>
              </a:ext>
            </a:extLst>
          </p:cNvPr>
          <p:cNvSpPr/>
          <p:nvPr/>
        </p:nvSpPr>
        <p:spPr>
          <a:xfrm>
            <a:off x="1279694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Event </a:t>
            </a:r>
            <a:r>
              <a:rPr lang="pt-BR" sz="1400" b="1" dirty="0" err="1">
                <a:solidFill>
                  <a:schemeClr val="tx1"/>
                </a:solidFill>
              </a:rPr>
              <a:t>Stream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92F9AD1-3719-868E-B463-135BAD2EB1F4}"/>
              </a:ext>
            </a:extLst>
          </p:cNvPr>
          <p:cNvSpPr/>
          <p:nvPr/>
        </p:nvSpPr>
        <p:spPr>
          <a:xfrm>
            <a:off x="24275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MQ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F3F5670-FBC3-1C77-B4AD-704C3598A1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0977" y="2212204"/>
            <a:ext cx="1061332" cy="1035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42BF1AE-7E18-3FE6-25CB-79DD65C81B33}"/>
              </a:ext>
            </a:extLst>
          </p:cNvPr>
          <p:cNvSpPr txBox="1"/>
          <p:nvPr/>
        </p:nvSpPr>
        <p:spPr>
          <a:xfrm>
            <a:off x="5856336" y="2192279"/>
            <a:ext cx="1586137" cy="255454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5"/>
              </a:rPr>
              <a:t>IBM-CP4I-ACE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6"/>
              </a:rPr>
              <a:t>IBM-CP4I-Asper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7"/>
              </a:rPr>
              <a:t>IBM-CP4I-EventStream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MQ-U$25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fontAlgn="base"/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APIC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9"/>
              </a:rPr>
              <a:t>IBM-CP4A-WAS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0"/>
              </a:rPr>
              <a:t>IBM-CP4A-WebSphereLibertyCore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1"/>
              </a:rPr>
              <a:t>IBM-CP4BA-BAW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2"/>
              </a:rPr>
              <a:t>IBM-CP4BA-FilenetContentManager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3"/>
              </a:rPr>
              <a:t>IBM-CP4BA-ODM-U$25</a:t>
            </a:r>
            <a:b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</a:b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4"/>
              </a:rPr>
              <a:t>IBM-CP4BA-ProcessMining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5"/>
              </a:rPr>
              <a:t>IBM-CP4BA-RP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  <a:hlinkClick r:id="" action="ppaction://noaction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" action="ppaction://noaction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6"/>
              </a:rPr>
              <a:t>Instan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Turbonomic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u="sng" dirty="0">
                <a:solidFill>
                  <a:srgbClr val="000000"/>
                </a:solidFill>
                <a:highlight>
                  <a:srgbClr val="FFFFFF"/>
                </a:highlight>
                <a:latin typeface="Aptos" panose="020B0004020202020204" pitchFamily="34" charset="0"/>
                <a:hlinkClick r:id="rId18"/>
              </a:rPr>
              <a:t>IBM-Turbonomic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222DD14-3C61-B704-E862-79A687BD61D1}"/>
              </a:ext>
            </a:extLst>
          </p:cNvPr>
          <p:cNvGrpSpPr/>
          <p:nvPr/>
        </p:nvGrpSpPr>
        <p:grpSpPr>
          <a:xfrm>
            <a:off x="7442521" y="1688045"/>
            <a:ext cx="4637285" cy="3243782"/>
            <a:chOff x="393230" y="4218935"/>
            <a:chExt cx="4630422" cy="251753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4EFD9DF-8F2E-4F55-0200-0AA948776EA1}"/>
                </a:ext>
              </a:extLst>
            </p:cNvPr>
            <p:cNvSpPr>
              <a:spLocks/>
            </p:cNvSpPr>
            <p:nvPr/>
          </p:nvSpPr>
          <p:spPr>
            <a:xfrm>
              <a:off x="393230" y="4218935"/>
              <a:ext cx="4630422" cy="25175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2 – Avaliar (tudo é </a:t>
              </a:r>
              <a:r>
                <a:rPr lang="pt-BR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nônimo</a:t>
              </a:r>
              <a:r>
                <a:rPr lang="pt-BR" dirty="0">
                  <a:solidFill>
                    <a:schemeClr val="tx1"/>
                  </a:solidFill>
                </a:rPr>
                <a:t>!)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D8CDA5AE-23C6-61AA-1B4F-0853A1FBC9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81" y="4647421"/>
              <a:ext cx="3757508" cy="165388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CDC082A-9D2F-DF2A-7662-A6F10B0F5B8C}"/>
              </a:ext>
            </a:extLst>
          </p:cNvPr>
          <p:cNvGrpSpPr/>
          <p:nvPr/>
        </p:nvGrpSpPr>
        <p:grpSpPr>
          <a:xfrm>
            <a:off x="104820" y="4920395"/>
            <a:ext cx="7337653" cy="1751870"/>
            <a:chOff x="7135092" y="1975174"/>
            <a:chExt cx="7220159" cy="1836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C15BB23-E682-C5AB-6ABC-81796504370C}"/>
                </a:ext>
              </a:extLst>
            </p:cNvPr>
            <p:cNvSpPr>
              <a:spLocks/>
            </p:cNvSpPr>
            <p:nvPr/>
          </p:nvSpPr>
          <p:spPr>
            <a:xfrm>
              <a:off x="7135092" y="1975174"/>
              <a:ext cx="7220159" cy="18364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3 – Mandar </a:t>
              </a:r>
              <a:r>
                <a:rPr lang="pt-BR" dirty="0" err="1">
                  <a:solidFill>
                    <a:schemeClr val="tx1"/>
                  </a:solidFill>
                </a:rPr>
                <a:t>email</a:t>
              </a:r>
              <a:r>
                <a:rPr lang="pt-BR" dirty="0">
                  <a:solidFill>
                    <a:schemeClr val="tx1"/>
                  </a:solidFill>
                </a:rPr>
                <a:t> para alexandre.zanetti@br.ibm.com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5098B102-8B48-FA82-16D2-1A45285755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38466" y="2500813"/>
              <a:ext cx="1188019" cy="1195444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A5B17CB-D9AC-8DC6-437F-31C584205A79}"/>
                </a:ext>
              </a:extLst>
            </p:cNvPr>
            <p:cNvGrpSpPr/>
            <p:nvPr/>
          </p:nvGrpSpPr>
          <p:grpSpPr>
            <a:xfrm>
              <a:off x="7963320" y="2572536"/>
              <a:ext cx="1301703" cy="1123722"/>
              <a:chOff x="8586744" y="3002334"/>
              <a:chExt cx="941167" cy="812482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9E937DC-DB98-5C9B-6C6B-FB40F05212DE}"/>
                  </a:ext>
                </a:extLst>
              </p:cNvPr>
              <p:cNvSpPr/>
              <p:nvPr/>
            </p:nvSpPr>
            <p:spPr>
              <a:xfrm>
                <a:off x="8586744" y="3002334"/>
                <a:ext cx="723900" cy="812482"/>
              </a:xfrm>
              <a:custGeom>
                <a:avLst/>
                <a:gdLst>
                  <a:gd name="connsiteX0" fmla="*/ 600075 w 723900"/>
                  <a:gd name="connsiteY0" fmla="*/ 200749 h 812482"/>
                  <a:gd name="connsiteX1" fmla="*/ 600075 w 723900"/>
                  <a:gd name="connsiteY1" fmla="*/ 107633 h 812482"/>
                  <a:gd name="connsiteX2" fmla="*/ 490471 w 723900"/>
                  <a:gd name="connsiteY2" fmla="*/ 107633 h 812482"/>
                  <a:gd name="connsiteX3" fmla="*/ 361950 w 723900"/>
                  <a:gd name="connsiteY3" fmla="*/ 0 h 812482"/>
                  <a:gd name="connsiteX4" fmla="*/ 233429 w 723900"/>
                  <a:gd name="connsiteY4" fmla="*/ 107633 h 812482"/>
                  <a:gd name="connsiteX5" fmla="*/ 123825 w 723900"/>
                  <a:gd name="connsiteY5" fmla="*/ 107633 h 812482"/>
                  <a:gd name="connsiteX6" fmla="*/ 123825 w 723900"/>
                  <a:gd name="connsiteY6" fmla="*/ 200749 h 812482"/>
                  <a:gd name="connsiteX7" fmla="*/ 0 w 723900"/>
                  <a:gd name="connsiteY7" fmla="*/ 303171 h 812482"/>
                  <a:gd name="connsiteX8" fmla="*/ 0 w 723900"/>
                  <a:gd name="connsiteY8" fmla="*/ 812483 h 812482"/>
                  <a:gd name="connsiteX9" fmla="*/ 723900 w 723900"/>
                  <a:gd name="connsiteY9" fmla="*/ 812483 h 812482"/>
                  <a:gd name="connsiteX10" fmla="*/ 723900 w 723900"/>
                  <a:gd name="connsiteY10" fmla="*/ 303171 h 812482"/>
                  <a:gd name="connsiteX11" fmla="*/ 600075 w 723900"/>
                  <a:gd name="connsiteY11" fmla="*/ 225514 h 812482"/>
                  <a:gd name="connsiteX12" fmla="*/ 700240 w 723900"/>
                  <a:gd name="connsiteY12" fmla="*/ 308381 h 812482"/>
                  <a:gd name="connsiteX13" fmla="*/ 600075 w 723900"/>
                  <a:gd name="connsiteY13" fmla="*/ 408489 h 812482"/>
                  <a:gd name="connsiteX14" fmla="*/ 361950 w 723900"/>
                  <a:gd name="connsiteY14" fmla="*/ 24813 h 812482"/>
                  <a:gd name="connsiteX15" fmla="*/ 460800 w 723900"/>
                  <a:gd name="connsiteY15" fmla="*/ 107633 h 812482"/>
                  <a:gd name="connsiteX16" fmla="*/ 263100 w 723900"/>
                  <a:gd name="connsiteY16" fmla="*/ 107633 h 812482"/>
                  <a:gd name="connsiteX17" fmla="*/ 142875 w 723900"/>
                  <a:gd name="connsiteY17" fmla="*/ 126683 h 812482"/>
                  <a:gd name="connsiteX18" fmla="*/ 581025 w 723900"/>
                  <a:gd name="connsiteY18" fmla="*/ 126683 h 812482"/>
                  <a:gd name="connsiteX19" fmla="*/ 581025 w 723900"/>
                  <a:gd name="connsiteY19" fmla="*/ 427539 h 812482"/>
                  <a:gd name="connsiteX20" fmla="*/ 466230 w 723900"/>
                  <a:gd name="connsiteY20" fmla="*/ 542334 h 812482"/>
                  <a:gd name="connsiteX21" fmla="*/ 257632 w 723900"/>
                  <a:gd name="connsiteY21" fmla="*/ 542334 h 812482"/>
                  <a:gd name="connsiteX22" fmla="*/ 142875 w 723900"/>
                  <a:gd name="connsiteY22" fmla="*/ 427539 h 812482"/>
                  <a:gd name="connsiteX23" fmla="*/ 123825 w 723900"/>
                  <a:gd name="connsiteY23" fmla="*/ 225476 h 812482"/>
                  <a:gd name="connsiteX24" fmla="*/ 123825 w 723900"/>
                  <a:gd name="connsiteY24" fmla="*/ 408489 h 812482"/>
                  <a:gd name="connsiteX25" fmla="*/ 23660 w 723900"/>
                  <a:gd name="connsiteY25" fmla="*/ 308324 h 812482"/>
                  <a:gd name="connsiteX26" fmla="*/ 19212 w 723900"/>
                  <a:gd name="connsiteY26" fmla="*/ 330813 h 812482"/>
                  <a:gd name="connsiteX27" fmla="*/ 243707 w 723900"/>
                  <a:gd name="connsiteY27" fmla="*/ 555308 h 812482"/>
                  <a:gd name="connsiteX28" fmla="*/ 19212 w 723900"/>
                  <a:gd name="connsiteY28" fmla="*/ 779802 h 812482"/>
                  <a:gd name="connsiteX29" fmla="*/ 19078 w 723900"/>
                  <a:gd name="connsiteY29" fmla="*/ 779801 h 812482"/>
                  <a:gd name="connsiteX30" fmla="*/ 19050 w 723900"/>
                  <a:gd name="connsiteY30" fmla="*/ 779736 h 812482"/>
                  <a:gd name="connsiteX31" fmla="*/ 19050 w 723900"/>
                  <a:gd name="connsiteY31" fmla="*/ 330879 h 812482"/>
                  <a:gd name="connsiteX32" fmla="*/ 19146 w 723900"/>
                  <a:gd name="connsiteY32" fmla="*/ 330785 h 812482"/>
                  <a:gd name="connsiteX33" fmla="*/ 19212 w 723900"/>
                  <a:gd name="connsiteY33" fmla="*/ 330813 h 812482"/>
                  <a:gd name="connsiteX34" fmla="*/ 32747 w 723900"/>
                  <a:gd name="connsiteY34" fmla="*/ 793433 h 812482"/>
                  <a:gd name="connsiteX35" fmla="*/ 32653 w 723900"/>
                  <a:gd name="connsiteY35" fmla="*/ 793336 h 812482"/>
                  <a:gd name="connsiteX36" fmla="*/ 32680 w 723900"/>
                  <a:gd name="connsiteY36" fmla="*/ 793271 h 812482"/>
                  <a:gd name="connsiteX37" fmla="*/ 260928 w 723900"/>
                  <a:gd name="connsiteY37" fmla="*/ 565033 h 812482"/>
                  <a:gd name="connsiteX38" fmla="*/ 462972 w 723900"/>
                  <a:gd name="connsiteY38" fmla="*/ 565033 h 812482"/>
                  <a:gd name="connsiteX39" fmla="*/ 691220 w 723900"/>
                  <a:gd name="connsiteY39" fmla="*/ 793271 h 812482"/>
                  <a:gd name="connsiteX40" fmla="*/ 691219 w 723900"/>
                  <a:gd name="connsiteY40" fmla="*/ 793405 h 812482"/>
                  <a:gd name="connsiteX41" fmla="*/ 691153 w 723900"/>
                  <a:gd name="connsiteY41" fmla="*/ 793433 h 812482"/>
                  <a:gd name="connsiteX42" fmla="*/ 704688 w 723900"/>
                  <a:gd name="connsiteY42" fmla="*/ 779802 h 812482"/>
                  <a:gd name="connsiteX43" fmla="*/ 480193 w 723900"/>
                  <a:gd name="connsiteY43" fmla="*/ 555308 h 812482"/>
                  <a:gd name="connsiteX44" fmla="*/ 704688 w 723900"/>
                  <a:gd name="connsiteY44" fmla="*/ 330813 h 812482"/>
                  <a:gd name="connsiteX45" fmla="*/ 704822 w 723900"/>
                  <a:gd name="connsiteY45" fmla="*/ 330814 h 812482"/>
                  <a:gd name="connsiteX46" fmla="*/ 704850 w 723900"/>
                  <a:gd name="connsiteY46" fmla="*/ 330879 h 812482"/>
                  <a:gd name="connsiteX47" fmla="*/ 704850 w 723900"/>
                  <a:gd name="connsiteY47" fmla="*/ 779736 h 812482"/>
                  <a:gd name="connsiteX48" fmla="*/ 704754 w 723900"/>
                  <a:gd name="connsiteY48" fmla="*/ 779830 h 812482"/>
                  <a:gd name="connsiteX49" fmla="*/ 704688 w 723900"/>
                  <a:gd name="connsiteY49" fmla="*/ 779802 h 81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723900" h="812482">
                    <a:moveTo>
                      <a:pt x="600075" y="200749"/>
                    </a:moveTo>
                    <a:lnTo>
                      <a:pt x="600075" y="107633"/>
                    </a:lnTo>
                    <a:lnTo>
                      <a:pt x="490471" y="107633"/>
                    </a:lnTo>
                    <a:lnTo>
                      <a:pt x="361950" y="0"/>
                    </a:lnTo>
                    <a:lnTo>
                      <a:pt x="233429" y="107633"/>
                    </a:lnTo>
                    <a:lnTo>
                      <a:pt x="123825" y="107633"/>
                    </a:lnTo>
                    <a:lnTo>
                      <a:pt x="123825" y="200749"/>
                    </a:lnTo>
                    <a:lnTo>
                      <a:pt x="0" y="303171"/>
                    </a:lnTo>
                    <a:lnTo>
                      <a:pt x="0" y="812483"/>
                    </a:lnTo>
                    <a:lnTo>
                      <a:pt x="723900" y="812483"/>
                    </a:lnTo>
                    <a:lnTo>
                      <a:pt x="723900" y="303171"/>
                    </a:lnTo>
                    <a:close/>
                    <a:moveTo>
                      <a:pt x="600075" y="225514"/>
                    </a:moveTo>
                    <a:lnTo>
                      <a:pt x="700240" y="308381"/>
                    </a:lnTo>
                    <a:lnTo>
                      <a:pt x="600075" y="408489"/>
                    </a:lnTo>
                    <a:close/>
                    <a:moveTo>
                      <a:pt x="361950" y="24813"/>
                    </a:moveTo>
                    <a:lnTo>
                      <a:pt x="460800" y="107633"/>
                    </a:lnTo>
                    <a:lnTo>
                      <a:pt x="263100" y="107633"/>
                    </a:lnTo>
                    <a:close/>
                    <a:moveTo>
                      <a:pt x="142875" y="126683"/>
                    </a:moveTo>
                    <a:lnTo>
                      <a:pt x="581025" y="126683"/>
                    </a:lnTo>
                    <a:lnTo>
                      <a:pt x="581025" y="427539"/>
                    </a:lnTo>
                    <a:lnTo>
                      <a:pt x="466230" y="542334"/>
                    </a:lnTo>
                    <a:cubicBezTo>
                      <a:pt x="405944" y="491621"/>
                      <a:pt x="317918" y="491621"/>
                      <a:pt x="257632" y="542334"/>
                    </a:cubicBezTo>
                    <a:lnTo>
                      <a:pt x="142875" y="427539"/>
                    </a:lnTo>
                    <a:close/>
                    <a:moveTo>
                      <a:pt x="123825" y="225476"/>
                    </a:moveTo>
                    <a:lnTo>
                      <a:pt x="123825" y="408489"/>
                    </a:lnTo>
                    <a:lnTo>
                      <a:pt x="23660" y="308324"/>
                    </a:lnTo>
                    <a:close/>
                    <a:moveTo>
                      <a:pt x="19212" y="330813"/>
                    </a:moveTo>
                    <a:lnTo>
                      <a:pt x="243707" y="555308"/>
                    </a:lnTo>
                    <a:lnTo>
                      <a:pt x="19212" y="779802"/>
                    </a:lnTo>
                    <a:cubicBezTo>
                      <a:pt x="19175" y="779839"/>
                      <a:pt x="19114" y="779838"/>
                      <a:pt x="19078" y="779801"/>
                    </a:cubicBezTo>
                    <a:cubicBezTo>
                      <a:pt x="19060" y="779783"/>
                      <a:pt x="19050" y="779760"/>
                      <a:pt x="19050" y="779736"/>
                    </a:cubicBezTo>
                    <a:lnTo>
                      <a:pt x="19050" y="330879"/>
                    </a:lnTo>
                    <a:cubicBezTo>
                      <a:pt x="19051" y="330827"/>
                      <a:pt x="19094" y="330785"/>
                      <a:pt x="19146" y="330785"/>
                    </a:cubicBezTo>
                    <a:cubicBezTo>
                      <a:pt x="19171" y="330786"/>
                      <a:pt x="19195" y="330796"/>
                      <a:pt x="19212" y="330813"/>
                    </a:cubicBezTo>
                    <a:close/>
                    <a:moveTo>
                      <a:pt x="32747" y="793433"/>
                    </a:moveTo>
                    <a:cubicBezTo>
                      <a:pt x="32695" y="793432"/>
                      <a:pt x="32653" y="793389"/>
                      <a:pt x="32653" y="793336"/>
                    </a:cubicBezTo>
                    <a:cubicBezTo>
                      <a:pt x="32654" y="793312"/>
                      <a:pt x="32663" y="793288"/>
                      <a:pt x="32680" y="793271"/>
                    </a:cubicBezTo>
                    <a:lnTo>
                      <a:pt x="260928" y="565033"/>
                    </a:lnTo>
                    <a:cubicBezTo>
                      <a:pt x="316755" y="509323"/>
                      <a:pt x="407145" y="509323"/>
                      <a:pt x="462972" y="565033"/>
                    </a:cubicBezTo>
                    <a:lnTo>
                      <a:pt x="691220" y="793271"/>
                    </a:lnTo>
                    <a:cubicBezTo>
                      <a:pt x="691257" y="793308"/>
                      <a:pt x="691256" y="793369"/>
                      <a:pt x="691219" y="793405"/>
                    </a:cubicBezTo>
                    <a:cubicBezTo>
                      <a:pt x="691201" y="793422"/>
                      <a:pt x="691178" y="793433"/>
                      <a:pt x="691153" y="793433"/>
                    </a:cubicBezTo>
                    <a:close/>
                    <a:moveTo>
                      <a:pt x="704688" y="779802"/>
                    </a:moveTo>
                    <a:lnTo>
                      <a:pt x="480193" y="555308"/>
                    </a:lnTo>
                    <a:lnTo>
                      <a:pt x="704688" y="330813"/>
                    </a:lnTo>
                    <a:cubicBezTo>
                      <a:pt x="704725" y="330776"/>
                      <a:pt x="704786" y="330777"/>
                      <a:pt x="704822" y="330814"/>
                    </a:cubicBezTo>
                    <a:cubicBezTo>
                      <a:pt x="704840" y="330832"/>
                      <a:pt x="704850" y="330855"/>
                      <a:pt x="704850" y="330879"/>
                    </a:cubicBezTo>
                    <a:lnTo>
                      <a:pt x="704850" y="779736"/>
                    </a:lnTo>
                    <a:cubicBezTo>
                      <a:pt x="704849" y="779788"/>
                      <a:pt x="704806" y="779830"/>
                      <a:pt x="704754" y="779830"/>
                    </a:cubicBezTo>
                    <a:cubicBezTo>
                      <a:pt x="704729" y="779829"/>
                      <a:pt x="704705" y="779819"/>
                      <a:pt x="704688" y="7798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7A30EFA1-6EAB-BC22-8582-A414C80365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800000">
                <a:off x="8705997" y="3008282"/>
                <a:ext cx="821914" cy="361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8FAD2341-3A70-9616-6BCC-E06B3DE6C37A}"/>
                </a:ext>
              </a:extLst>
            </p:cNvPr>
            <p:cNvSpPr/>
            <p:nvPr/>
          </p:nvSpPr>
          <p:spPr>
            <a:xfrm>
              <a:off x="9178281" y="2871297"/>
              <a:ext cx="760135" cy="775504"/>
            </a:xfrm>
            <a:prstGeom prst="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90267AA-2CAA-D304-51EC-4B2D366AB597}"/>
              </a:ext>
            </a:extLst>
          </p:cNvPr>
          <p:cNvGrpSpPr/>
          <p:nvPr/>
        </p:nvGrpSpPr>
        <p:grpSpPr>
          <a:xfrm>
            <a:off x="7161017" y="4697310"/>
            <a:ext cx="5023644" cy="2160690"/>
            <a:chOff x="7168343" y="4697310"/>
            <a:chExt cx="5023644" cy="2160690"/>
          </a:xfrm>
        </p:grpSpPr>
        <p:pic>
          <p:nvPicPr>
            <p:cNvPr id="28" name="logo2-04.png" descr="logo2-04.png">
              <a:extLst>
                <a:ext uri="{FF2B5EF4-FFF2-40B4-BE49-F238E27FC236}">
                  <a16:creationId xmlns:a16="http://schemas.microsoft.com/office/drawing/2014/main" id="{4AE9FF7E-B32D-A1A4-BBF8-50CC6418C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058399" y="6257883"/>
              <a:ext cx="2028783" cy="60011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0685BC1-49D0-0A1F-7A2C-32349E365586}"/>
                </a:ext>
              </a:extLst>
            </p:cNvPr>
            <p:cNvSpPr>
              <a:spLocks/>
            </p:cNvSpPr>
            <p:nvPr/>
          </p:nvSpPr>
          <p:spPr>
            <a:xfrm>
              <a:off x="7449847" y="4920395"/>
              <a:ext cx="4637332" cy="17518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4 – Em alguns produtos.. .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4" descr="Earn a $25 gift card!">
              <a:extLst>
                <a:ext uri="{FF2B5EF4-FFF2-40B4-BE49-F238E27FC236}">
                  <a16:creationId xmlns:a16="http://schemas.microsoft.com/office/drawing/2014/main" id="{AA1A2BDA-914A-3AC7-2038-001204B6E7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343" y="5562744"/>
              <a:ext cx="4918837" cy="1093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Star: 32 Points 30">
              <a:extLst>
                <a:ext uri="{FF2B5EF4-FFF2-40B4-BE49-F238E27FC236}">
                  <a16:creationId xmlns:a16="http://schemas.microsoft.com/office/drawing/2014/main" id="{AC36F529-343A-ACFE-7FE3-ED0DB3D26523}"/>
                </a:ext>
              </a:extLst>
            </p:cNvPr>
            <p:cNvSpPr/>
            <p:nvPr/>
          </p:nvSpPr>
          <p:spPr>
            <a:xfrm>
              <a:off x="10062246" y="4697310"/>
              <a:ext cx="2129741" cy="1182018"/>
            </a:xfrm>
            <a:prstGeom prst="star32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err="1">
                  <a:solidFill>
                    <a:schemeClr val="tx1"/>
                  </a:solidFill>
                </a:rPr>
                <a:t>Gift</a:t>
              </a:r>
              <a:r>
                <a:rPr lang="pt-BR" dirty="0">
                  <a:solidFill>
                    <a:schemeClr val="tx1"/>
                  </a:solidFill>
                </a:rPr>
                <a:t> card U$ 2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51B0A244-340D-154C-51A0-DECC08B98AD9}"/>
              </a:ext>
            </a:extLst>
          </p:cNvPr>
          <p:cNvSpPr/>
          <p:nvPr/>
        </p:nvSpPr>
        <p:spPr>
          <a:xfrm>
            <a:off x="3596503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P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91CD54BE-F4AF-9EA8-85E1-75D016107526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21673" y="2207187"/>
            <a:ext cx="1043221" cy="104322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F664094-C2CB-2355-15E1-24FFA1C7407C}"/>
              </a:ext>
            </a:extLst>
          </p:cNvPr>
          <p:cNvSpPr/>
          <p:nvPr/>
        </p:nvSpPr>
        <p:spPr>
          <a:xfrm>
            <a:off x="256150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RP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E4FB085-DEE3-8B5E-6431-4F3B5C32AFCE}"/>
              </a:ext>
            </a:extLst>
          </p:cNvPr>
          <p:cNvSpPr/>
          <p:nvPr/>
        </p:nvSpPr>
        <p:spPr>
          <a:xfrm>
            <a:off x="1252325" y="3370216"/>
            <a:ext cx="1315483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Process</a:t>
            </a:r>
            <a:r>
              <a:rPr lang="pt-BR" sz="1400" b="1" dirty="0">
                <a:solidFill>
                  <a:schemeClr val="tx1"/>
                </a:solidFill>
              </a:rPr>
              <a:t> Min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5E1E7A4-9103-384A-9BF8-29810D3F2F9D}"/>
              </a:ext>
            </a:extLst>
          </p:cNvPr>
          <p:cNvSpPr/>
          <p:nvPr/>
        </p:nvSpPr>
        <p:spPr>
          <a:xfrm>
            <a:off x="242854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BAW/BPM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9963B97-80D6-2830-54EB-54C4B4A54ED1}"/>
              </a:ext>
            </a:extLst>
          </p:cNvPr>
          <p:cNvGrpSpPr/>
          <p:nvPr/>
        </p:nvGrpSpPr>
        <p:grpSpPr>
          <a:xfrm>
            <a:off x="225013" y="3612862"/>
            <a:ext cx="4539309" cy="1106319"/>
            <a:chOff x="225013" y="2498977"/>
            <a:chExt cx="5423434" cy="132179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1959D74B-69C9-EC77-59F8-3BA9E03493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25013" y="2498977"/>
              <a:ext cx="1246954" cy="1294009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5822714C-F298-2BC1-7D21-8AC0D3BDDF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617675" y="2540660"/>
              <a:ext cx="1242329" cy="1266220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B2A582C7-7ECC-2FA7-A453-30C0464679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005713" y="2526766"/>
              <a:ext cx="1309886" cy="1294009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5C7BE3F6-A14D-FC21-2985-87FD35056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398530" y="2550248"/>
              <a:ext cx="1249917" cy="1242006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478261F5-0365-C072-C138-FECC58D12E31}"/>
              </a:ext>
            </a:extLst>
          </p:cNvPr>
          <p:cNvSpPr/>
          <p:nvPr/>
        </p:nvSpPr>
        <p:spPr>
          <a:xfrm>
            <a:off x="360268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Filene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BD29278-E036-693C-21DB-BDC058595346}"/>
              </a:ext>
            </a:extLst>
          </p:cNvPr>
          <p:cNvSpPr/>
          <p:nvPr/>
        </p:nvSpPr>
        <p:spPr>
          <a:xfrm>
            <a:off x="4728780" y="196259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Turbonom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2D136AB7-93D8-E1E5-9104-B4403507BA11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786096" y="2164503"/>
            <a:ext cx="1183459" cy="109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37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EEB53BB-ADE1-67F3-A517-DF503BA85A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3D98EF-F834-2478-D8DC-4BDAFEAC68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B8270C-2F29-B3A4-6CDA-596843EB19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3B6545-67FD-746C-0311-AF590B0C7C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8DD988-30F5-E455-7D20-46BF4FCA46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BFA85D3A-996D-45E2-F061-B992E256B0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62FCA1F-3CDA-12BF-8A91-144EBFEBC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656FF8-08C7-5315-CF45-41F740632D8C}"/>
              </a:ext>
            </a:extLst>
          </p:cNvPr>
          <p:cNvSpPr txBox="1"/>
          <p:nvPr/>
        </p:nvSpPr>
        <p:spPr>
          <a:xfrm>
            <a:off x="184458" y="6512612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p%20connect%20enterprise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integration%20bus</a:t>
            </a:r>
            <a:r>
              <a:rPr lang="en-US" sz="800" dirty="0"/>
              <a:t> 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1A694A3-64F6-FBF9-AF16-9364AE50D005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E1AD71B-C206-D420-6C6C-B493266E9C8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AB995A6-8160-6D3A-ACB5-BC8F864C37A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87EF3B2-7B5A-8553-2CC9-EBB6AC3629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C1F3DB9-38B7-0D8F-AC63-FFEB16B5CC74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D7F1ECFC-D578-C1B4-7609-8217C3C835BA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7071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EBD9567-45A2-4B1A-F52D-526889EE3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0B42A3A-03F1-F86F-9CF5-8BE4DC38D8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2D8567-B0C9-CCEC-AE85-95C7DB16E2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98C72B-4C97-D59D-06BA-37740A139C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88699C-076F-9379-B988-56644EC4D5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373FE2C-4918-882D-CAB8-18FB7CA85B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3386B2-B147-07F5-1001-836D909478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EE0B93-74DF-8B44-1545-F9A72E98FD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11" name="logo2-04.png" descr="logo2-04.png">
            <a:extLst>
              <a:ext uri="{FF2B5EF4-FFF2-40B4-BE49-F238E27FC236}">
                <a16:creationId xmlns:a16="http://schemas.microsoft.com/office/drawing/2014/main" id="{6F0C1967-B468-3AC5-96A7-BBD25E104B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19C18EA3-8D3E-99F8-9994-5693B1A9E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2CC27B-BAA7-57AC-05DD-858C271FAF33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4"/>
              </a:rPr>
              <a:t>https://www.ibm.com/support/pages/lifecycle/search?q=ibm%20mq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EDA8B90-A453-24C3-57F2-F7A2006261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B21F820-2354-7F9F-72F7-3DF0F0EE00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6C1B145-FF8F-DED4-F380-B12F10F179B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90316C0-A0E0-B8A1-12B2-DA7111E0132B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64601E79-906F-4AA3-7ACB-02A8192551CF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1165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CF65997-ACAE-BB55-97AD-11941A96D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5D6FC64-D9D4-800A-61CE-195E8AC83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4060DE-E969-DDA8-70D9-F5C6193D05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53FBAC6-0F8A-5819-623B-C9A724A058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F24D0C-6EF2-6EF5-5F6C-70670897F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4F06B5-BA39-33D3-2373-8ACB14CCBF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51713BBD-5B91-5421-17F1-D38D288194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51C9E3F-B34A-C3D7-BAC1-2C04894AB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EB768B-C01F-B3B4-38EC-5A2512F3BE40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A20081-F0AC-BD2E-7A00-0383C5924B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8F48FEC-A9B5-CB3B-EDEB-B412AF390B2E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D38AE92-EEDC-3CAC-FE9B-2354E210AD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809" y="2482536"/>
            <a:ext cx="8905519" cy="297134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42569FA-5257-42BF-28D1-E78222468705}"/>
              </a:ext>
            </a:extLst>
          </p:cNvPr>
          <p:cNvSpPr/>
          <p:nvPr/>
        </p:nvSpPr>
        <p:spPr>
          <a:xfrm>
            <a:off x="1108573" y="2497170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CE8CC49-BDDB-D8AB-F2B3-CF2D9415FAFD}"/>
              </a:ext>
            </a:extLst>
          </p:cNvPr>
          <p:cNvCxnSpPr>
            <a:cxnSpLocks/>
          </p:cNvCxnSpPr>
          <p:nvPr/>
        </p:nvCxnSpPr>
        <p:spPr>
          <a:xfrm>
            <a:off x="1031892" y="540977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51033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E0578CB-78FB-5397-1359-5C5C755F3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E658CE5-AE70-ED8E-11F9-CC2F726D0B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A5ACD1-A7C0-E2EB-0BAA-737BCD3F37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3E15A48-36D4-ABEF-56C2-7D386A2C33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376446B-0F96-82E9-4AF2-15CA650455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BEE8C95-0E36-173E-8715-1B9AC3E7AB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265AA21A-AA04-DDF5-3B08-F22159C8A9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D21E17-EDD4-55A6-4382-2043371C0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82BDF9-8106-69CE-F2C1-88EF934FB324}"/>
              </a:ext>
            </a:extLst>
          </p:cNvPr>
          <p:cNvSpPr txBox="1"/>
          <p:nvPr/>
        </p:nvSpPr>
        <p:spPr>
          <a:xfrm>
            <a:off x="184458" y="6385290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event%20automation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10EFD7-95AD-D6AF-E480-620E0858FD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2880" y="2572947"/>
            <a:ext cx="9916038" cy="9634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74E65B8-897D-9DDE-F814-9365CFDB6A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7351AA-E240-6693-7627-CBC4713B0C6D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BCB73C42-95E9-6521-881F-CDBBBA269525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71132BA-A0E4-47B0-9845-170FD0DBAB88}"/>
              </a:ext>
            </a:extLst>
          </p:cNvPr>
          <p:cNvCxnSpPr>
            <a:cxnSpLocks/>
          </p:cNvCxnSpPr>
          <p:nvPr/>
        </p:nvCxnSpPr>
        <p:spPr>
          <a:xfrm>
            <a:off x="1031892" y="353641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5493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6BFFEC-1304-3A5C-BFF8-2991C5E9A961}"/>
              </a:ext>
            </a:extLst>
          </p:cNvPr>
          <p:cNvSpPr txBox="1">
            <a:spLocks/>
          </p:cNvSpPr>
          <p:nvPr/>
        </p:nvSpPr>
        <p:spPr bwMode="auto">
          <a:xfrm>
            <a:off x="280417" y="268224"/>
            <a:ext cx="8530609" cy="45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Agenda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F13B2B3-0098-14C6-4598-640B655A99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9BA1D0-45F1-1660-384B-4B1043BFC997}"/>
              </a:ext>
            </a:extLst>
          </p:cNvPr>
          <p:cNvSpPr txBox="1"/>
          <p:nvPr/>
        </p:nvSpPr>
        <p:spPr>
          <a:xfrm>
            <a:off x="280417" y="1596147"/>
            <a:ext cx="666190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 err="1"/>
              <a:t>Apresentação</a:t>
            </a:r>
            <a:r>
              <a:rPr lang="en-US" sz="2400" dirty="0"/>
              <a:t> do CSM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Licenciamen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Licen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Ciclo de vida /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Product Life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tividad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ctiviti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Desafi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halleng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Chamad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a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Pont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dicionai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dditional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info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666C7F2F-6226-68C2-8804-B15852190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0932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1F70DC-4976-0C27-8145-4C09FD39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1C69DE6-46CA-4B05-947F-A3539849E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F8B246-281B-E04A-3202-4EB750A03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5DE83-148A-7728-FAF8-455EA9D0B6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CCEDB-AC97-3D73-2A0B-48CFDA14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82DBD6-2A6B-44A3-9A0F-C7513CB49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3F15D5-01E7-9E5C-35C5-CDED6F95F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1ACF8142-98EA-AF53-4F42-8034F371AE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40C3F43-9D38-1BC5-1F15-763D139D0C2B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58D3786-4ED6-9D34-D62C-F0D7BA3991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065DB45-1BA4-9DDD-437B-FB4C313620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573" y="2574289"/>
            <a:ext cx="9875244" cy="3427141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30FDFF-0A0A-D7E5-7D3A-1A12DE670773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1FB654B2-4AC7-5014-C83E-D111AE9E34FE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72F5B2A-B84E-A339-183E-030DB97A5973}"/>
              </a:ext>
            </a:extLst>
          </p:cNvPr>
          <p:cNvCxnSpPr>
            <a:cxnSpLocks/>
          </p:cNvCxnSpPr>
          <p:nvPr/>
        </p:nvCxnSpPr>
        <p:spPr>
          <a:xfrm>
            <a:off x="1031892" y="6012446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127D3129-AEA6-2F9D-BDA0-D48B78EB37E2}"/>
              </a:ext>
            </a:extLst>
          </p:cNvPr>
          <p:cNvSpPr/>
          <p:nvPr/>
        </p:nvSpPr>
        <p:spPr>
          <a:xfrm>
            <a:off x="1108573" y="4031263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324F74C-9FAC-8B9A-CB15-F49196AA7674}"/>
              </a:ext>
            </a:extLst>
          </p:cNvPr>
          <p:cNvSpPr/>
          <p:nvPr/>
        </p:nvSpPr>
        <p:spPr>
          <a:xfrm>
            <a:off x="1108573" y="516227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014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23408A4-E10E-0D74-5A45-F1154A09E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E00831B-CC24-C88F-99C4-B6F0B25FF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C8BB79-7CBD-2D5D-1DC0-A4F31B2317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738B0D-E51B-4590-081E-0A3FAD5DC4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91EA051-DFFB-DBCA-CBD5-D8AB1B1100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980ABE-E143-B259-89D0-21DB45215F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4DD34A-EE30-866E-AC27-0DD2358CD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24BF46C4-C34E-00A2-7C26-3736D80E62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6CB79F7-D492-D37E-0F1D-DE7063C56357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DBBF180-1475-56C7-7C5C-6A251D8DD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0ECDCC7-5AC4-A90D-470A-65F30E84F7E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951" r="8808" b="10334"/>
          <a:stretch/>
        </p:blipFill>
        <p:spPr>
          <a:xfrm>
            <a:off x="1108573" y="2616943"/>
            <a:ext cx="8734180" cy="348363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B0159C9-4405-7FC8-6EE3-82EDB9C27C07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73A5B81B-E020-9DB3-F53E-0254E8E5D4EE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7F1292C-A259-D462-B00D-759A4CDD20FC}"/>
              </a:ext>
            </a:extLst>
          </p:cNvPr>
          <p:cNvCxnSpPr>
            <a:cxnSpLocks/>
          </p:cNvCxnSpPr>
          <p:nvPr/>
        </p:nvCxnSpPr>
        <p:spPr>
          <a:xfrm>
            <a:off x="1031892" y="6100582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6139AF2E-64BE-66B1-20B9-31D9C27BC9CF}"/>
              </a:ext>
            </a:extLst>
          </p:cNvPr>
          <p:cNvSpPr/>
          <p:nvPr/>
        </p:nvSpPr>
        <p:spPr>
          <a:xfrm>
            <a:off x="1108573" y="4853885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86031C-A614-F9CF-CC1B-12540572A001}"/>
              </a:ext>
            </a:extLst>
          </p:cNvPr>
          <p:cNvSpPr/>
          <p:nvPr/>
        </p:nvSpPr>
        <p:spPr>
          <a:xfrm>
            <a:off x="1108573" y="347821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15541D-8502-D170-F591-58A4269A13AD}"/>
              </a:ext>
            </a:extLst>
          </p:cNvPr>
          <p:cNvSpPr/>
          <p:nvPr/>
        </p:nvSpPr>
        <p:spPr>
          <a:xfrm>
            <a:off x="1108573" y="5692106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3140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8C82F91-A99C-B77C-7FF1-5714DEE4AF23}"/>
              </a:ext>
            </a:extLst>
          </p:cNvPr>
          <p:cNvSpPr txBox="1"/>
          <p:nvPr/>
        </p:nvSpPr>
        <p:spPr>
          <a:xfrm>
            <a:off x="791927" y="417441"/>
            <a:ext cx="283094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loud Pak for Integr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4E927D-93FF-0470-9135-AF827355FA62}"/>
              </a:ext>
            </a:extLst>
          </p:cNvPr>
          <p:cNvSpPr txBox="1"/>
          <p:nvPr/>
        </p:nvSpPr>
        <p:spPr>
          <a:xfrm>
            <a:off x="794743" y="2626382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PI Connect®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BDB2708-1E2A-019A-57B4-BDBF6479F45C}"/>
              </a:ext>
            </a:extLst>
          </p:cNvPr>
          <p:cNvSpPr txBox="1"/>
          <p:nvPr/>
        </p:nvSpPr>
        <p:spPr>
          <a:xfrm>
            <a:off x="794743" y="3097105"/>
            <a:ext cx="20921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pp Connec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B2AB7B-09B9-5BF5-B713-9378BA5679AF}"/>
              </a:ext>
            </a:extLst>
          </p:cNvPr>
          <p:cNvSpPr txBox="1"/>
          <p:nvPr/>
        </p:nvSpPr>
        <p:spPr>
          <a:xfrm>
            <a:off x="794743" y="3567828"/>
            <a:ext cx="27765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Event Automa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ECE741-EC5F-40C0-9DE2-0BC8AE862767}"/>
              </a:ext>
            </a:extLst>
          </p:cNvPr>
          <p:cNvSpPr txBox="1"/>
          <p:nvPr/>
        </p:nvSpPr>
        <p:spPr>
          <a:xfrm>
            <a:off x="794743" y="4038551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MQ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8901656-5693-1F0E-B7CD-76A4C0CDED6A}"/>
              </a:ext>
            </a:extLst>
          </p:cNvPr>
          <p:cNvSpPr txBox="1"/>
          <p:nvPr/>
        </p:nvSpPr>
        <p:spPr>
          <a:xfrm>
            <a:off x="794743" y="4513975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spera®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A7C2AC-EC43-DC92-0B6E-EA878264C49D}"/>
              </a:ext>
            </a:extLst>
          </p:cNvPr>
          <p:cNvSpPr txBox="1"/>
          <p:nvPr/>
        </p:nvSpPr>
        <p:spPr>
          <a:xfrm>
            <a:off x="791927" y="4946697"/>
            <a:ext cx="33356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DataPower® Gatewa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D7BDBDE-713C-4705-6471-3B875432DF6E}"/>
              </a:ext>
            </a:extLst>
          </p:cNvPr>
          <p:cNvSpPr txBox="1"/>
          <p:nvPr/>
        </p:nvSpPr>
        <p:spPr>
          <a:xfrm>
            <a:off x="4808997" y="6481785"/>
            <a:ext cx="609407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" dirty="0">
                <a:hlinkClick r:id="rId8"/>
              </a:rPr>
              <a:t>https://www.ibm.com/br-pt/cloud-paks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9"/>
              </a:rPr>
              <a:t>https://www.ibm.com/integration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0"/>
              </a:rPr>
              <a:t>https://www.ibm.com/docs/en/cloud-paks/cp-integration/2023.4?topic=planning-licensing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1"/>
              </a:rPr>
              <a:t>https://www.ibm.com/docs/pt-br/process-mining/1.14.4?topic=installation-installing-process-mining-in-cloud-pak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2"/>
              </a:rPr>
              <a:t>https://www.ibm.com/docs/en/rpa/23.0?topic=server-installing-rpa-other-cloud-paks</a:t>
            </a:r>
            <a:r>
              <a:rPr lang="en-US" sz="300" dirty="0"/>
              <a:t>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BCB8FFE-3EF7-3666-F487-709B18C0424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51619" y="957963"/>
            <a:ext cx="6094070" cy="261174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B592560-4EA0-8DCF-B855-891EBA94A62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51619" y="3569707"/>
            <a:ext cx="6635014" cy="27047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402067-BB51-1666-D2D9-E4E602211FC6}"/>
              </a:ext>
            </a:extLst>
          </p:cNvPr>
          <p:cNvSpPr txBox="1"/>
          <p:nvPr/>
        </p:nvSpPr>
        <p:spPr>
          <a:xfrm>
            <a:off x="791926" y="5815145"/>
            <a:ext cx="40260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bg1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Robotic Process Autom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0FC890-56D3-0B9B-F953-E940310095B4}"/>
              </a:ext>
            </a:extLst>
          </p:cNvPr>
          <p:cNvSpPr txBox="1"/>
          <p:nvPr/>
        </p:nvSpPr>
        <p:spPr>
          <a:xfrm>
            <a:off x="791927" y="6265715"/>
            <a:ext cx="33356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Process Min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592B4B-7614-2E4C-D54B-D1454B263905}"/>
              </a:ext>
            </a:extLst>
          </p:cNvPr>
          <p:cNvSpPr txBox="1"/>
          <p:nvPr/>
        </p:nvSpPr>
        <p:spPr>
          <a:xfrm>
            <a:off x="496005" y="5421609"/>
            <a:ext cx="38248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BM Plex Sans" panose="020B0503050203000203" pitchFamily="34" charset="0"/>
              </a:rPr>
              <a:t>Foundational Servic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66939F-EB1D-B1A3-D5A2-33BACFB77688}"/>
              </a:ext>
            </a:extLst>
          </p:cNvPr>
          <p:cNvSpPr txBox="1"/>
          <p:nvPr/>
        </p:nvSpPr>
        <p:spPr>
          <a:xfrm>
            <a:off x="496005" y="2275699"/>
            <a:ext cx="38248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BM Plex Sans" panose="020B0503050203000203" pitchFamily="34" charset="0"/>
              </a:rPr>
              <a:t>CP4I</a:t>
            </a:r>
          </a:p>
        </p:txBody>
      </p:sp>
    </p:spTree>
    <p:extLst>
      <p:ext uri="{BB962C8B-B14F-4D97-AF65-F5344CB8AC3E}">
        <p14:creationId xmlns:p14="http://schemas.microsoft.com/office/powerpoint/2010/main" val="21599369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41DE96-5C4A-70ED-C5D5-D0DD877CE5E2}"/>
              </a:ext>
            </a:extLst>
          </p:cNvPr>
          <p:cNvSpPr/>
          <p:nvPr/>
        </p:nvSpPr>
        <p:spPr bwMode="auto">
          <a:xfrm>
            <a:off x="6795248" y="0"/>
            <a:ext cx="5396752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685966">
              <a:defRPr/>
            </a:pPr>
            <a:endParaRPr lang="en-US" sz="1400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IBM Plex Sans" charset="0"/>
              <a:sym typeface="Helvetica Neue"/>
            </a:endParaRPr>
          </a:p>
        </p:txBody>
      </p:sp>
      <p:pic>
        <p:nvPicPr>
          <p:cNvPr id="3" name="Picture 2" descr="IBM Logo - PNG e Vetor - Download de Logo">
            <a:extLst>
              <a:ext uri="{FF2B5EF4-FFF2-40B4-BE49-F238E27FC236}">
                <a16:creationId xmlns:a16="http://schemas.microsoft.com/office/drawing/2014/main" id="{257C2506-D653-7D4C-8941-DF39C48F0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80" y="3141314"/>
            <a:ext cx="1424355" cy="57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12CA610-F49F-5B35-900C-4862CDFCD58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7014211" y="2934568"/>
            <a:ext cx="974725" cy="9715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3118A30-CDC0-181B-CDB8-3B05005195A9}"/>
              </a:ext>
            </a:extLst>
          </p:cNvPr>
          <p:cNvSpPr txBox="1"/>
          <p:nvPr/>
        </p:nvSpPr>
        <p:spPr>
          <a:xfrm>
            <a:off x="8044711" y="2884757"/>
            <a:ext cx="414728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Alexandre Zanetti</a:t>
            </a:r>
          </a:p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200" dirty="0"/>
          </a:p>
          <a:p>
            <a:r>
              <a:rPr lang="en-US" sz="1200" dirty="0"/>
              <a:t>55 (11) 98539-4632</a:t>
            </a:r>
          </a:p>
          <a:p>
            <a:r>
              <a:rPr lang="en-US" sz="1200" dirty="0">
                <a:effectLst/>
              </a:rPr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701231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28408D-88D8-4B83-AE71-1294D5961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28408D-88D8-4B83-AE71-1294D596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03248A-BDA0-4D8E-8451-A0C804B42F5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621">
              <a:defRPr/>
            </a:pPr>
            <a:endParaRPr lang="en-US" sz="5867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 sz="900">
                <a:solidFill>
                  <a:srgbClr val="000000"/>
                </a:solidFill>
              </a:rPr>
              <a:pPr defTabSz="914621">
                <a:defRPr/>
              </a:pPr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… is to engage with you as you deploy, adopt and use IBM technology to ensure that [Client Name]  obtains the most value possible from our offerings.">
            <a:extLst>
              <a:ext uri="{FF2B5EF4-FFF2-40B4-BE49-F238E27FC236}">
                <a16:creationId xmlns:a16="http://schemas.microsoft.com/office/drawing/2014/main" id="{0B61165B-76B7-41CF-AF0D-6EF2A7AC4F28}"/>
              </a:ext>
            </a:extLst>
          </p:cNvPr>
          <p:cNvSpPr txBox="1">
            <a:spLocks/>
          </p:cNvSpPr>
          <p:nvPr/>
        </p:nvSpPr>
        <p:spPr>
          <a:xfrm>
            <a:off x="495345" y="1905000"/>
            <a:ext cx="11201311" cy="3427908"/>
          </a:xfrm>
          <a:prstGeom prst="rect">
            <a:avLst/>
          </a:prstGeom>
        </p:spPr>
        <p:txBody>
          <a:bodyPr wrap="square"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>
              <a:defRPr sz="9300"/>
            </a:pPr>
            <a:r>
              <a:rPr lang="en-US" sz="4000" kern="0" dirty="0">
                <a:solidFill>
                  <a:schemeClr val="tx1"/>
                </a:solidFill>
              </a:rPr>
              <a:t>… é </a:t>
            </a:r>
            <a:r>
              <a:rPr lang="en-US" sz="4000" kern="0" dirty="0" err="1">
                <a:solidFill>
                  <a:schemeClr val="tx1"/>
                </a:solidFill>
              </a:rPr>
              <a:t>engajar</a:t>
            </a:r>
            <a:r>
              <a:rPr lang="en-US" sz="4000" kern="0" dirty="0">
                <a:solidFill>
                  <a:schemeClr val="tx1"/>
                </a:solidFill>
              </a:rPr>
              <a:t> com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parceiro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durante</a:t>
            </a:r>
            <a:r>
              <a:rPr lang="en-US" sz="4000" kern="0" dirty="0">
                <a:solidFill>
                  <a:schemeClr val="tx1"/>
                </a:solidFill>
              </a:rPr>
              <a:t> a </a:t>
            </a:r>
            <a:r>
              <a:rPr lang="en-US" sz="4000" kern="0" dirty="0" err="1">
                <a:solidFill>
                  <a:schemeClr val="tx1"/>
                </a:solidFill>
              </a:rPr>
              <a:t>implementação</a:t>
            </a:r>
            <a:r>
              <a:rPr lang="en-US" sz="4000" kern="0" dirty="0">
                <a:solidFill>
                  <a:schemeClr val="tx1"/>
                </a:solidFill>
              </a:rPr>
              <a:t>, </a:t>
            </a:r>
            <a:r>
              <a:rPr lang="en-US" sz="4000" kern="0" dirty="0" err="1">
                <a:solidFill>
                  <a:schemeClr val="tx1"/>
                </a:solidFill>
              </a:rPr>
              <a:t>adoção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uso</a:t>
            </a:r>
            <a:r>
              <a:rPr lang="en-US" sz="4000" kern="0" dirty="0">
                <a:solidFill>
                  <a:schemeClr val="tx1"/>
                </a:solidFill>
              </a:rPr>
              <a:t> das </a:t>
            </a:r>
            <a:r>
              <a:rPr lang="en-US" sz="4000" kern="0" dirty="0" err="1">
                <a:solidFill>
                  <a:schemeClr val="tx1"/>
                </a:solidFill>
              </a:rPr>
              <a:t>tecnologias</a:t>
            </a:r>
            <a:r>
              <a:rPr lang="en-US" sz="4000" kern="0" dirty="0">
                <a:solidFill>
                  <a:schemeClr val="tx1"/>
                </a:solidFill>
              </a:rPr>
              <a:t> da IBM para </a:t>
            </a:r>
            <a:r>
              <a:rPr lang="en-US" sz="4000" kern="0" dirty="0" err="1">
                <a:solidFill>
                  <a:schemeClr val="tx1"/>
                </a:solidFill>
              </a:rPr>
              <a:t>garantir</a:t>
            </a:r>
            <a:r>
              <a:rPr lang="en-US" sz="4000" kern="0" dirty="0">
                <a:solidFill>
                  <a:schemeClr val="tx1"/>
                </a:solidFill>
              </a:rPr>
              <a:t> que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btenha</a:t>
            </a:r>
            <a:r>
              <a:rPr lang="en-US" sz="4000" kern="0" dirty="0">
                <a:solidFill>
                  <a:schemeClr val="tx1"/>
                </a:solidFill>
              </a:rPr>
              <a:t> o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máximo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valor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possível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</a:t>
            </a:r>
            <a:r>
              <a:rPr lang="en-US" sz="4000" kern="0" dirty="0">
                <a:solidFill>
                  <a:schemeClr val="tx1"/>
                </a:solidFill>
              </a:rPr>
              <a:t>das </a:t>
            </a:r>
            <a:r>
              <a:rPr lang="en-US" sz="4000" kern="0" dirty="0" err="1">
                <a:solidFill>
                  <a:schemeClr val="tx1"/>
                </a:solidFill>
              </a:rPr>
              <a:t>nossas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fertas</a:t>
            </a:r>
            <a:r>
              <a:rPr lang="en-US" sz="4000" kern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69F55DB-477E-42C6-A4C2-1C436616B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74320"/>
            <a:ext cx="11612791" cy="763407"/>
          </a:xfrm>
        </p:spPr>
        <p:txBody>
          <a:bodyPr anchor="ctr">
            <a:normAutofit fontScale="90000"/>
          </a:bodyPr>
          <a:lstStyle/>
          <a:p>
            <a:r>
              <a:rPr lang="pt-BR" sz="3600" dirty="0">
                <a:solidFill>
                  <a:schemeClr val="tx1"/>
                </a:solidFill>
              </a:rPr>
              <a:t>A missão do </a:t>
            </a:r>
            <a:r>
              <a:rPr lang="pt-BR" sz="3600" dirty="0" err="1">
                <a:solidFill>
                  <a:schemeClr val="tx1"/>
                </a:solidFill>
              </a:rPr>
              <a:t>Customer</a:t>
            </a:r>
            <a:r>
              <a:rPr lang="pt-BR" sz="3600" dirty="0">
                <a:solidFill>
                  <a:schemeClr val="tx1"/>
                </a:solidFill>
              </a:rPr>
              <a:t> </a:t>
            </a:r>
            <a:r>
              <a:rPr lang="pt-BR" sz="3600" dirty="0" err="1">
                <a:solidFill>
                  <a:schemeClr val="tx1"/>
                </a:solidFill>
              </a:rPr>
              <a:t>Success</a:t>
            </a:r>
            <a:r>
              <a:rPr lang="pt-BR" sz="3600" dirty="0">
                <a:solidFill>
                  <a:schemeClr val="tx1"/>
                </a:solidFill>
              </a:rPr>
              <a:t> Manager…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1E91762-A533-5953-92A7-0E2F1A7DC9D6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>
                <a:solidFill>
                  <a:schemeClr val="tx1"/>
                </a:solidFill>
              </a:rPr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06988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0D93105-AC2E-413D-AEF8-811553D98BF2}"/>
              </a:ext>
            </a:extLst>
          </p:cNvPr>
          <p:cNvSpPr txBox="1">
            <a:spLocks/>
          </p:cNvSpPr>
          <p:nvPr/>
        </p:nvSpPr>
        <p:spPr>
          <a:xfrm>
            <a:off x="0" y="4046855"/>
            <a:ext cx="6096000" cy="2811146"/>
          </a:xfrm>
          <a:prstGeom prst="rect">
            <a:avLst/>
          </a:prstGeom>
          <a:solidFill>
            <a:schemeClr val="tx1"/>
          </a:solidFill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IBM Plex Sans" pitchFamily="2" charset="2"/>
              <a:buNone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 baseline="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Font typeface="IBM Plex Sans" charset="-120"/>
              <a:buChar char="»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endParaRPr lang="en-US" sz="3200" b="1" kern="0" dirty="0">
              <a:solidFill>
                <a:schemeClr val="bg1"/>
              </a:solidFill>
            </a:endParaRPr>
          </a:p>
          <a:p>
            <a:pPr algn="ctr"/>
            <a:r>
              <a:rPr lang="en-US" sz="3200" b="1" kern="0" dirty="0" err="1">
                <a:solidFill>
                  <a:schemeClr val="bg1"/>
                </a:solidFill>
              </a:rPr>
              <a:t>Maximizar</a:t>
            </a:r>
            <a:r>
              <a:rPr lang="en-US" sz="3200" b="1" kern="0" dirty="0">
                <a:solidFill>
                  <a:schemeClr val="bg1"/>
                </a:solidFill>
              </a:rPr>
              <a:t> o </a:t>
            </a:r>
            <a:r>
              <a:rPr lang="en-US" sz="3200" b="1" kern="0" dirty="0" err="1">
                <a:solidFill>
                  <a:schemeClr val="bg1"/>
                </a:solidFill>
              </a:rPr>
              <a:t>retorno</a:t>
            </a:r>
            <a:r>
              <a:rPr lang="en-US" sz="3200" b="1" kern="0" dirty="0">
                <a:solidFill>
                  <a:schemeClr val="bg1"/>
                </a:solidFill>
              </a:rPr>
              <a:t> de </a:t>
            </a:r>
            <a:r>
              <a:rPr lang="en-US" sz="3200" b="1" kern="0" dirty="0" err="1">
                <a:solidFill>
                  <a:schemeClr val="bg1"/>
                </a:solidFill>
              </a:rPr>
              <a:t>investimento</a:t>
            </a:r>
            <a:r>
              <a:rPr lang="en-US" sz="3200" b="1" kern="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do </a:t>
            </a:r>
            <a:r>
              <a:rPr lang="en-US" sz="3200" kern="0" dirty="0" err="1">
                <a:solidFill>
                  <a:schemeClr val="bg1"/>
                </a:solidFill>
              </a:rPr>
              <a:t>cliente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4046855"/>
          </a:xfrm>
          <a:solidFill>
            <a:schemeClr val="accent1"/>
          </a:solidFill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Demonstrar</a:t>
            </a:r>
            <a:r>
              <a:rPr lang="en-US" sz="2800" dirty="0"/>
              <a:t> valor </a:t>
            </a:r>
            <a:r>
              <a:rPr lang="en-US" sz="2800" dirty="0" err="1"/>
              <a:t>contínuo</a:t>
            </a:r>
            <a:r>
              <a:rPr lang="en-US" sz="2800" dirty="0"/>
              <a:t> por </a:t>
            </a:r>
            <a:r>
              <a:rPr lang="en-US" sz="2800" dirty="0" err="1"/>
              <a:t>meio</a:t>
            </a:r>
            <a:r>
              <a:rPr lang="en-US" sz="2800" dirty="0"/>
              <a:t> da </a:t>
            </a:r>
            <a:r>
              <a:rPr lang="en-US" sz="2800" dirty="0" err="1"/>
              <a:t>utilização</a:t>
            </a:r>
            <a:r>
              <a:rPr lang="en-US" sz="2800" dirty="0"/>
              <a:t> das </a:t>
            </a:r>
            <a:r>
              <a:rPr lang="en-US" sz="2800" dirty="0" err="1"/>
              <a:t>ofertas</a:t>
            </a:r>
            <a:r>
              <a:rPr lang="en-US" sz="2800" dirty="0"/>
              <a:t> de Data &amp; AI, Automation </a:t>
            </a:r>
            <a:r>
              <a:rPr lang="en-US" sz="2800" dirty="0" err="1"/>
              <a:t>ou</a:t>
            </a:r>
            <a:r>
              <a:rPr lang="en-US" sz="2800" dirty="0"/>
              <a:t> Security da IB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4046855"/>
          </a:xfrm>
          <a:solidFill>
            <a:srgbClr val="001D6C"/>
          </a:solidFill>
        </p:spPr>
        <p:txBody>
          <a:bodyPr/>
          <a:lstStyle/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3200" b="1" dirty="0" err="1"/>
              <a:t>Acelerar</a:t>
            </a:r>
            <a:r>
              <a:rPr lang="en-US" sz="3200" b="1" dirty="0"/>
              <a:t> o </a:t>
            </a:r>
            <a:r>
              <a:rPr lang="en-US" sz="3200" b="1" i="1" dirty="0"/>
              <a:t>time to value </a:t>
            </a:r>
            <a:r>
              <a:rPr lang="en-US" sz="3200" dirty="0"/>
              <a:t>do </a:t>
            </a:r>
            <a:r>
              <a:rPr lang="en-US" sz="3200" dirty="0" err="1"/>
              <a:t>client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84260" y="4046854"/>
            <a:ext cx="6107740" cy="2811146"/>
          </a:xfrm>
          <a:solidFill>
            <a:schemeClr val="accent2"/>
          </a:solidFill>
        </p:spPr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GARANTIR O </a:t>
            </a:r>
            <a:r>
              <a:rPr lang="en-US" sz="3200" b="1" dirty="0"/>
              <a:t>SUCESSO</a:t>
            </a:r>
            <a:r>
              <a:rPr lang="en-US" sz="3200" dirty="0"/>
              <a:t> DO CLIENTE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05A6B09B-E865-4171-AF47-2A132F1C7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/>
              <a:pPr defTabSz="914621">
                <a:defRPr/>
              </a:pPr>
              <a:t>4</a:t>
            </a:fld>
            <a:endParaRPr lang="en-US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872BA695-1E66-49E3-91D4-A274B060F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379593"/>
            <a:ext cx="5745480" cy="763407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O que é o Customer Success </a:t>
            </a:r>
            <a:r>
              <a:rPr lang="en-US" sz="3600" dirty="0" err="1">
                <a:solidFill>
                  <a:schemeClr val="tx1"/>
                </a:solidFill>
              </a:rPr>
              <a:t>na</a:t>
            </a:r>
            <a:r>
              <a:rPr lang="en-US" sz="3600" dirty="0">
                <a:solidFill>
                  <a:schemeClr val="tx1"/>
                </a:solidFill>
              </a:rPr>
              <a:t> IBM?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93B5C-0481-4EDC-8C5C-8732A1499583}"/>
              </a:ext>
            </a:extLst>
          </p:cNvPr>
          <p:cNvSpPr/>
          <p:nvPr/>
        </p:nvSpPr>
        <p:spPr>
          <a:xfrm>
            <a:off x="194064" y="1490008"/>
            <a:ext cx="55971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>
                <a:latin typeface="IBM Plex Sans" panose="020B0503050203000203" pitchFamily="34" charset="0"/>
              </a:rPr>
              <a:t>Nossa missão é </a:t>
            </a:r>
            <a:r>
              <a:rPr lang="pt-BR" sz="2000" b="1" dirty="0">
                <a:solidFill>
                  <a:srgbClr val="061F80"/>
                </a:solidFill>
                <a:latin typeface="IBM Plex Sans" panose="020B0503050203000203" pitchFamily="34" charset="0"/>
              </a:rPr>
              <a:t>impulsionar a adoção e o uso das ofertas de Data &amp; AI, Automation ou Security </a:t>
            </a:r>
            <a:r>
              <a:rPr lang="pt-BR" sz="2000" dirty="0">
                <a:latin typeface="IBM Plex Sans" panose="020B0503050203000203" pitchFamily="34" charset="0"/>
              </a:rPr>
              <a:t>por meio de compromissos proativos e contínuos com nossos clientes durante o pós-vendas e garantir que eles agreguem mais resultados aos seus negócios.</a:t>
            </a:r>
            <a:endParaRPr lang="en-US" sz="2000" dirty="0">
              <a:latin typeface="IBM Plex Sans" panose="020B0503050203000203" pitchFamily="34" charset="0"/>
            </a:endParaRPr>
          </a:p>
        </p:txBody>
      </p:sp>
      <p:pic>
        <p:nvPicPr>
          <p:cNvPr id="7172" name="Picture 4" descr="champion Icon 2750396">
            <a:extLst>
              <a:ext uri="{FF2B5EF4-FFF2-40B4-BE49-F238E27FC236}">
                <a16:creationId xmlns:a16="http://schemas.microsoft.com/office/drawing/2014/main" id="{026CBE3A-6437-4032-BB5E-20B6BA0B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6028" y="4148207"/>
            <a:ext cx="1115944" cy="11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52317B9A-005D-2F4F-BCAB-6C005E47A0D8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/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596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D9B609AC-2D18-4858-1821-77882B649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73581A-14E7-1133-5923-412F0DCC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atividades do CSM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xample activiti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6032E9-77B0-ECCC-9C48-964E8DCA3871}"/>
              </a:ext>
            </a:extLst>
          </p:cNvPr>
          <p:cNvGrpSpPr/>
          <p:nvPr/>
        </p:nvGrpSpPr>
        <p:grpSpPr>
          <a:xfrm>
            <a:off x="890776" y="1745093"/>
            <a:ext cx="10182014" cy="4759193"/>
            <a:chOff x="226010" y="914400"/>
            <a:chExt cx="11533564" cy="5467538"/>
          </a:xfrm>
        </p:grpSpPr>
        <p:sp>
          <p:nvSpPr>
            <p:cNvPr id="2" name="Text Placeholder 1">
              <a:extLst>
                <a:ext uri="{FF2B5EF4-FFF2-40B4-BE49-F238E27FC236}">
                  <a16:creationId xmlns:a16="http://schemas.microsoft.com/office/drawing/2014/main" id="{81185307-97FB-12DA-529E-7B0BD7D496F0}"/>
                </a:ext>
              </a:extLst>
            </p:cNvPr>
            <p:cNvSpPr txBox="1">
              <a:spLocks/>
            </p:cNvSpPr>
            <p:nvPr/>
          </p:nvSpPr>
          <p:spPr>
            <a:xfrm>
              <a:off x="445008" y="2133600"/>
              <a:ext cx="2374392" cy="1303944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defPPr>
                <a:defRPr lang="pt-B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car casos de uso </a:t>
              </a:r>
              <a:r>
                <a:rPr lang="en-US" sz="15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nhados com os objetivos estratégicos do cliente</a:t>
              </a:r>
              <a:endPara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A774AA1C-2555-4FEA-B71F-64295B391D81}"/>
                </a:ext>
              </a:extLst>
            </p:cNvPr>
            <p:cNvSpPr txBox="1">
              <a:spLocks/>
            </p:cNvSpPr>
            <p:nvPr/>
          </p:nvSpPr>
          <p:spPr>
            <a:xfrm>
              <a:off x="3267594" y="2163069"/>
              <a:ext cx="2720200" cy="1456431"/>
            </a:xfrm>
            <a:prstGeom prst="rect">
              <a:avLst/>
            </a:prstGeom>
          </p:spPr>
          <p:txBody>
            <a:bodyPr anchor="b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Co-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MVPs (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ínim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dut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iável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para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elerar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i="1" dirty="0">
                  <a:latin typeface="Arial" panose="020B0604020202020204" pitchFamily="34" charset="0"/>
                  <a:cs typeface="Arial" panose="020B0604020202020204" pitchFamily="34" charset="0"/>
                </a:rPr>
                <a:t>tempo de </a:t>
              </a:r>
              <a:r>
                <a:rPr lang="en-US" sz="15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retorno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ED8A99DB-37E2-324D-309C-066E0DD9CE21}"/>
                </a:ext>
              </a:extLst>
            </p:cNvPr>
            <p:cNvSpPr txBox="1">
              <a:spLocks/>
            </p:cNvSpPr>
            <p:nvPr/>
          </p:nvSpPr>
          <p:spPr>
            <a:xfrm>
              <a:off x="6489514" y="2088347"/>
              <a:ext cx="2227811" cy="1303944"/>
            </a:xfrm>
            <a:prstGeom prst="rect">
              <a:avLst/>
            </a:prstGeom>
          </p:spPr>
          <p:txBody>
            <a:bodyPr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Validar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arquitetura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melhores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práticas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Picture 4" descr="Cloud Network Icon 3766492">
              <a:extLst>
                <a:ext uri="{FF2B5EF4-FFF2-40B4-BE49-F238E27FC236}">
                  <a16:creationId xmlns:a16="http://schemas.microsoft.com/office/drawing/2014/main" id="{E38D398E-0CDD-3EDE-975D-0D4318B55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767" y="1244724"/>
              <a:ext cx="807905" cy="80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union Icon 1567316">
              <a:extLst>
                <a:ext uri="{FF2B5EF4-FFF2-40B4-BE49-F238E27FC236}">
                  <a16:creationId xmlns:a16="http://schemas.microsoft.com/office/drawing/2014/main" id="{27A44FA5-C2B4-9F0D-2FE5-FA336A0824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321" y="1066800"/>
              <a:ext cx="977566" cy="97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Target Icon 3845784">
              <a:extLst>
                <a:ext uri="{FF2B5EF4-FFF2-40B4-BE49-F238E27FC236}">
                  <a16:creationId xmlns:a16="http://schemas.microsoft.com/office/drawing/2014/main" id="{8F01A206-E5B3-5DC5-B152-6FBC45909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956" y="1219200"/>
              <a:ext cx="888696" cy="88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7A00A80-D87B-FCBF-24A8-BC9CA4B9C07D}"/>
                </a:ext>
              </a:extLst>
            </p:cNvPr>
            <p:cNvGrpSpPr/>
            <p:nvPr/>
          </p:nvGrpSpPr>
          <p:grpSpPr>
            <a:xfrm>
              <a:off x="344733" y="3727078"/>
              <a:ext cx="2450592" cy="2505969"/>
              <a:chOff x="445008" y="3590031"/>
              <a:chExt cx="2450592" cy="2505969"/>
            </a:xfrm>
          </p:grpSpPr>
          <p:sp>
            <p:nvSpPr>
              <p:cNvPr id="15" name="Text Placeholder 1">
                <a:extLst>
                  <a:ext uri="{FF2B5EF4-FFF2-40B4-BE49-F238E27FC236}">
                    <a16:creationId xmlns:a16="http://schemas.microsoft.com/office/drawing/2014/main" id="{0D791626-DEC1-C32E-2F8E-5F6D0078BB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5008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/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senvolve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monstraçõe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para o time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egóci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, sponsor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écnic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uári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Picture 12" descr="presentation Icon 1153931">
                <a:extLst>
                  <a:ext uri="{FF2B5EF4-FFF2-40B4-BE49-F238E27FC236}">
                    <a16:creationId xmlns:a16="http://schemas.microsoft.com/office/drawing/2014/main" id="{0137F999-23F9-7C49-6D0F-01E46A16DE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6352" y="3590031"/>
                <a:ext cx="807905" cy="8079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8BB897-BD71-952C-0DA2-89F5AF508F10}"/>
                </a:ext>
              </a:extLst>
            </p:cNvPr>
            <p:cNvGrpSpPr/>
            <p:nvPr/>
          </p:nvGrpSpPr>
          <p:grpSpPr>
            <a:xfrm>
              <a:off x="9232391" y="914400"/>
              <a:ext cx="2227811" cy="2477891"/>
              <a:chOff x="3528199" y="3618109"/>
              <a:chExt cx="2227811" cy="2477891"/>
            </a:xfrm>
          </p:grpSpPr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B8B2A23-2FEC-F0EE-1A02-0A65B52F12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28199" y="4518228"/>
                <a:ext cx="2227811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xpandi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tilizaçã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 IBM 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umenta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i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workload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em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cedid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16" descr="grow Icon 1648809">
                <a:extLst>
                  <a:ext uri="{FF2B5EF4-FFF2-40B4-BE49-F238E27FC236}">
                    <a16:creationId xmlns:a16="http://schemas.microsoft.com/office/drawing/2014/main" id="{C6295FF9-ABE1-21A8-09AA-C21BF2196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4443" y="3618109"/>
                <a:ext cx="1075323" cy="10753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F9AD820-2260-9FAC-577B-4FB806CD82B0}"/>
                </a:ext>
              </a:extLst>
            </p:cNvPr>
            <p:cNvGrpSpPr/>
            <p:nvPr/>
          </p:nvGrpSpPr>
          <p:grpSpPr>
            <a:xfrm>
              <a:off x="3316533" y="3836810"/>
              <a:ext cx="2450592" cy="2542668"/>
              <a:chOff x="6213209" y="3607104"/>
              <a:chExt cx="2450592" cy="2542668"/>
            </a:xfrm>
          </p:grpSpPr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57D76889-D5CC-4E1F-3233-F16FE09B22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3209" y="4572000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ransferi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onheciment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elhore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ática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oss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Picture 18" descr="practices Icon 2139244">
                <a:extLst>
                  <a:ext uri="{FF2B5EF4-FFF2-40B4-BE49-F238E27FC236}">
                    <a16:creationId xmlns:a16="http://schemas.microsoft.com/office/drawing/2014/main" id="{A85BD75F-2E3E-44C1-2111-D8B4827FC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57" y="3607104"/>
                <a:ext cx="888696" cy="8886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A95500-04B2-A591-80A3-BECC3F143B7E}"/>
                </a:ext>
              </a:extLst>
            </p:cNvPr>
            <p:cNvGrpSpPr/>
            <p:nvPr/>
          </p:nvGrpSpPr>
          <p:grpSpPr>
            <a:xfrm>
              <a:off x="9144000" y="3481524"/>
              <a:ext cx="2450592" cy="2874818"/>
              <a:chOff x="9220200" y="3221182"/>
              <a:chExt cx="2450592" cy="2874818"/>
            </a:xfrm>
          </p:grpSpPr>
          <p:sp>
            <p:nvSpPr>
              <p:cNvPr id="26" name="Text Placeholder 4">
                <a:extLst>
                  <a:ext uri="{FF2B5EF4-FFF2-40B4-BE49-F238E27FC236}">
                    <a16:creationId xmlns:a16="http://schemas.microsoft.com/office/drawing/2014/main" id="{F63CF753-19FD-D119-EB5E-73BEBE22FE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20200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rutura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ma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ultur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opíci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prendizad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bte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o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áxim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valor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IBM</a:t>
                </a:r>
              </a:p>
            </p:txBody>
          </p:sp>
          <p:pic>
            <p:nvPicPr>
              <p:cNvPr id="27" name="Picture 22" descr="Agile Methodology Icon 2321699">
                <a:extLst>
                  <a:ext uri="{FF2B5EF4-FFF2-40B4-BE49-F238E27FC236}">
                    <a16:creationId xmlns:a16="http://schemas.microsoft.com/office/drawing/2014/main" id="{AB804976-1D96-5076-BACD-A5E4B4BEF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587" y="3221182"/>
                <a:ext cx="1731818" cy="1731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93B79D-C957-D34A-1180-BEF87115BAD0}"/>
                </a:ext>
              </a:extLst>
            </p:cNvPr>
            <p:cNvSpPr/>
            <p:nvPr/>
          </p:nvSpPr>
          <p:spPr bwMode="auto">
            <a:xfrm>
              <a:off x="228598" y="914400"/>
              <a:ext cx="11518393" cy="2675630"/>
            </a:xfrm>
            <a:prstGeom prst="rect">
              <a:avLst/>
            </a:prstGeom>
            <a:noFill/>
            <a:ln w="1905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C4748603-6099-922B-91D8-B9B821FF00A7}"/>
                </a:ext>
              </a:extLst>
            </p:cNvPr>
            <p:cNvSpPr txBox="1">
              <a:spLocks/>
            </p:cNvSpPr>
            <p:nvPr/>
          </p:nvSpPr>
          <p:spPr>
            <a:xfrm>
              <a:off x="6266732" y="4931665"/>
              <a:ext cx="2450592" cy="130394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Font typeface="IBM Plex Sans" pitchFamily="2" charset="2"/>
                <a:buNone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1pPr>
              <a:lvl2pPr marL="228597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2pPr>
              <a:lvl3pPr marL="457195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panose="020B0604020202020204" pitchFamily="34" charset="0"/>
                <a:buChar char="•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3pPr>
              <a:lvl4pPr marL="83819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 baseline="0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4pPr>
              <a:lvl5pPr marL="107102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Font typeface="IBM Plex Sans" charset="-120"/>
                <a:buChar char="»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5pPr>
              <a:lvl6pPr marL="2111575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6pPr>
              <a:lvl7pPr marL="2594990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7pPr>
              <a:lvl8pPr marL="3078403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8pPr>
              <a:lvl9pPr marL="3561818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nect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te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com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nosso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time de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vendas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para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gendas de </a:t>
              </a:r>
              <a:r>
                <a:rPr lang="en-US" sz="15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ovação</a:t>
              </a:r>
              <a:endParaRPr lang="en-US" sz="15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Picture 8" descr="Idea Icon 3183247">
              <a:extLst>
                <a:ext uri="{FF2B5EF4-FFF2-40B4-BE49-F238E27FC236}">
                  <a16:creationId xmlns:a16="http://schemas.microsoft.com/office/drawing/2014/main" id="{32485759-4A1C-A755-2837-F13DAD867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16" y="3756005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8A17B85-36F1-E551-51C9-34065863E481}"/>
                </a:ext>
              </a:extLst>
            </p:cNvPr>
            <p:cNvSpPr/>
            <p:nvPr/>
          </p:nvSpPr>
          <p:spPr bwMode="auto">
            <a:xfrm>
              <a:off x="226010" y="3657600"/>
              <a:ext cx="5745480" cy="2721878"/>
            </a:xfrm>
            <a:prstGeom prst="rect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8FB060-67EC-C909-4F98-53AF19F19B2A}"/>
                </a:ext>
              </a:extLst>
            </p:cNvPr>
            <p:cNvSpPr/>
            <p:nvPr/>
          </p:nvSpPr>
          <p:spPr bwMode="auto">
            <a:xfrm>
              <a:off x="6014094" y="3660060"/>
              <a:ext cx="5745480" cy="2721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8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6D0D826A-6F39-D0EE-04D3-545CCFC54E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81A353-04C2-2079-A350-22195C0F3E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351335-ACCA-407D-2133-0B8F6D8350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AEB9F1-944B-111E-97B9-AE0F8FEB40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7199113-DB86-49F1-CF86-0FFE5FCF70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logo2-04.png" descr="logo2-04.png">
            <a:extLst>
              <a:ext uri="{FF2B5EF4-FFF2-40B4-BE49-F238E27FC236}">
                <a16:creationId xmlns:a16="http://schemas.microsoft.com/office/drawing/2014/main" id="{ADCC0433-7471-43DB-D315-C9B2B9AC13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216B6E15-6710-78CE-6239-76900022B6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tividade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CP4x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ctivities CP4x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E566DA1-048B-75AB-A64C-E8A362E94D25}"/>
              </a:ext>
            </a:extLst>
          </p:cNvPr>
          <p:cNvSpPr/>
          <p:nvPr/>
        </p:nvSpPr>
        <p:spPr>
          <a:xfrm>
            <a:off x="200888" y="1622745"/>
            <a:ext cx="8115305" cy="3792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</a:rPr>
              <a:t>Cloud Pak for Integr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P Connect Enterprise (ACE/IIB/Broker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I Connect (APIC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I Gateway/</a:t>
            </a:r>
            <a:r>
              <a:rPr lang="en-US" sz="2000" dirty="0" err="1">
                <a:solidFill>
                  <a:schemeClr val="tx1"/>
                </a:solidFill>
              </a:rPr>
              <a:t>Datapower</a:t>
            </a:r>
            <a:endParaRPr lang="en-US" sz="2000" dirty="0">
              <a:solidFill>
                <a:schemeClr val="tx1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sper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Event Stream/Kafk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MQ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Futuro breve: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Event Autom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Hybrid iPaaS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</a:rPr>
              <a:t>WebMethods</a:t>
            </a:r>
            <a:r>
              <a:rPr lang="en-US" sz="2000" dirty="0">
                <a:solidFill>
                  <a:schemeClr val="tx1"/>
                </a:solidFill>
              </a:rPr>
              <a:t> Integr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pic>
        <p:nvPicPr>
          <p:cNvPr id="2052" name="Picture 4" descr="IBM Cloud Pak for Integration | IBM CP4I">
            <a:extLst>
              <a:ext uri="{FF2B5EF4-FFF2-40B4-BE49-F238E27FC236}">
                <a16:creationId xmlns:a16="http://schemas.microsoft.com/office/drawing/2014/main" id="{85988C5C-9FAE-ED82-4C8D-3A15BF1ED1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46"/>
          <a:stretch/>
        </p:blipFill>
        <p:spPr bwMode="auto">
          <a:xfrm>
            <a:off x="4402287" y="2655253"/>
            <a:ext cx="7426023" cy="118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8755712-55D1-FFBF-878E-33B00D18A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8321" y="4327457"/>
            <a:ext cx="2217520" cy="217533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A8D76E9-BB08-D4B3-3A0C-3E58C2E3059C}"/>
              </a:ext>
            </a:extLst>
          </p:cNvPr>
          <p:cNvSpPr txBox="1"/>
          <p:nvPr/>
        </p:nvSpPr>
        <p:spPr>
          <a:xfrm>
            <a:off x="7306129" y="4024023"/>
            <a:ext cx="2444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Hybrid iPaa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F87E82-F6B4-1B67-2587-F9EC4DD510D1}"/>
              </a:ext>
            </a:extLst>
          </p:cNvPr>
          <p:cNvSpPr txBox="1"/>
          <p:nvPr/>
        </p:nvSpPr>
        <p:spPr>
          <a:xfrm>
            <a:off x="6197601" y="2303149"/>
            <a:ext cx="4237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Cloud Pak for Integration</a:t>
            </a:r>
          </a:p>
        </p:txBody>
      </p:sp>
    </p:spTree>
    <p:extLst>
      <p:ext uri="{BB962C8B-B14F-4D97-AF65-F5344CB8AC3E}">
        <p14:creationId xmlns:p14="http://schemas.microsoft.com/office/powerpoint/2010/main" val="2097707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7D4C51C-A353-A970-8159-2D198FB567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D502B921-57EA-889E-8C02-DA31F29C67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234A41C-9EC9-1AAC-0BE4-80EC551670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5CB6E1-38D5-CEC7-8511-34A9F0C6D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74EEDCE-2EA8-A2A0-1EAA-940627E34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C72291-34AD-DF5D-6100-C74993FCF9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CFBADE-4F12-2255-C97C-4E5F41B0F1FA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FADDCB5-60D6-6865-09F6-FFF0A5B3D42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C6A6F76-9013-0250-F386-12A5D2EC7B1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Douglas / Ronaldo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A38BBC0-A8ED-4667-5A63-CFC163CBB9BA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41FCB82-8C6F-98AA-A348-8A0723D0186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16AF86A-B303-4AB6-D177-9A57CDB0A5E0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0F27142-0FBB-B9DF-9DA9-80BBDD94BF93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FF9D7EA-81F4-64DD-26DC-4F6E7916CA4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EDC0651-03BE-805B-434D-0020D8C8555C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BFEAA66-8CBA-15AE-C843-2D1A0AAA517D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imeira reunião com o time 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dutizaca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do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Secu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: 204 Servidores total  84 OK 2024 e 118 p/ fazer 2025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30/09 9.2 (faltam 20 servidores)  App .NET com Windows velho (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x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16) e pensando em MQ 9.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KS com MQ/Container ou OCP/MQ 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28482B8-9088-46AD-FE79-004AAC04F10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1ABD8333-D6D4-2398-657E-E507C31C11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7BEA581F-5E8E-63E1-178C-1B15DF39984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4E060F5B-14C4-795F-78CD-D4687F64C57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113F23A7-534F-0FE5-BF16-F87BD982250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B4BDA5A2-F520-795D-A029-2B4E48E54894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17F6291E-5815-FAC7-D953-9C683E5F320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B1D795D6-DC47-E0E3-FC27-F509DBE461D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CBDC1443-085C-008D-4837-9182625CAA2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9C273E9-95AC-1B3B-361A-338B3D2A546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DB6C847-0BA3-46AA-2F80-5EF11C4A23B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BCE7D54-F669-0DBD-5827-36321CD907A1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D57396B-887C-5CE1-F40E-D6F0F3E57C8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dutizacao</a:t>
              </a: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do IPSec  OK 09/04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204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84 OK 2024 e faltam 118 2025)  42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 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9.2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m 30/09  (faltam 20 servidores) =&gt; Itaú agendar convers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IDEA: MQ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por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or AWS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Gravit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JWT/Token no MQ  agendado 21/05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CC9B0EE-7ECC-4459-69CF-DF31F5E465A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JWT/Token no MQ  Executado 21/05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juda na cópia msg w/ Streaming 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qmq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ica = msg origin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-existência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- SPB==&gt; canal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/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ceiv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==&gt;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remisse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204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92 OK 2024 e faltam 112 2025)  45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  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Itaú agend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9.2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m 30/09  (faltam 20 servers)  ==&gt; Itaú agend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IDEA: MQ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por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or AWS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Gravit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rquitetura para migração MQ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-premise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para AWS  IBM analisar o pedido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303E229-5125-C25F-1E8B-B6E4FC0DD90C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7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 Event/Kafka –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204 (102 OK 2024 e falta 102 2025)  51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18/06 primeira reunião com time 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/Backlog: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Publicar o produto MQ no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tackspot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EKS/OCP com MQ/Containe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DR do MQ 9.4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3BF64F9-E263-A142-E538-C951D99F8C79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8976903D-F481-19F0-B898-7F4E608032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B115065E-055D-F402-CBAE-A28C1027EBB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1DB176B5-0996-52C3-E508-A6A867078DF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29DD81A-5AF0-3CE3-7CB0-A778B77BAA2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65EE4F8D-FB4F-3880-4AA2-98A9581B7211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CBB9FA02-D7AE-3CDC-0A1F-E2E90418190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C4EF7742-6881-2654-904A-F5F11ABD881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F564EAC3-5ACF-9A9B-9AC0-7EAC1CFDF5B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E1FECB45-885A-B1D5-868D-463CA1FCE6E8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49" name="Picture 4" descr="IBM Cloud Pak for Integration | IBM CP4I">
            <a:extLst>
              <a:ext uri="{FF2B5EF4-FFF2-40B4-BE49-F238E27FC236}">
                <a16:creationId xmlns:a16="http://schemas.microsoft.com/office/drawing/2014/main" id="{46DA1586-841F-DB0C-F41F-D2D1FF7391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27122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CA82FF3-0A69-5EB5-7045-7510581F7A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C15E6D97-90B8-AB04-EB30-5FE3479E4E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31FCC0-ECE0-E1C0-FCD1-EE2725B95F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219CC24-1E38-615D-148F-A7D97E3D0C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751CD2-2653-AD86-196B-D9FBD5A22C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127054-811A-77DF-A612-974D8BE99A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0EB3E3A-DC78-ABE6-879D-8B353DCFDA4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916277-BC01-F107-F833-3DC130346357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4455BA-D3E9-9793-68CD-C3583A4E6304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Douglas / Ronaldo / Orlean</a:t>
            </a: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1/05/2025</a:t>
            </a:r>
            <a:b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900" dirty="0">
                <a:solidFill>
                  <a:schemeClr val="tx1"/>
                </a:solidFill>
              </a:rPr>
              <a:t>16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3/07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8/2026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7/08/2026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3/09/2026</a:t>
            </a:r>
          </a:p>
          <a:p>
            <a:pPr marL="0" lvl="2" algn="ctr"/>
            <a:endParaRPr lang="pt-BR" sz="10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D0F42A8-420D-49C4-F63A-F7BAA292A2A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0CC1768-FBAA-CDE6-CCED-0C7473F11500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425F7AF-B97C-BE9A-B427-2074C7686FC2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EC87346-E5B2-9F97-65CA-9DB55A7CC2A4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7F45830-8E04-1A06-389C-4A5003A45C7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3: Conta corrente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 z/OS  MQ AWS EC2 Linux  proc. Batch (30M/trans)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23/07 – Plano de ação (c/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 para coletar traces outra rotina diári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3: MQ JWT (problema com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r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x Event/Kafka –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Workshop MQ (como usar MQ em container).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l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de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Sample (JMS: QM, fila, persistente, COA/COD)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l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Infra: RDQM mais próximo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o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ivo/Ativo?!</a:t>
              </a:r>
            </a:p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10=&gt;2025 (54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18/06 primeira reunião com time, tentando nova reuni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 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E22B0EB-5D24-34FE-BC08-2E5A9B6E10FD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10=&gt;2025 (54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hamado migração na Rotina Mensal (E descoberta lentidão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premisse)</a:t>
              </a:r>
            </a:p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/Backlog: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EKS/OCP com MQ/Containe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DR do MQ 9.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2026: Publicar o produto MQ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tackspot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600" dirty="0" err="1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aralizado</a:t>
              </a:r>
              <a:endParaRPr lang="pt-BR" sz="600" dirty="0">
                <a:solidFill>
                  <a:schemeClr val="tx1"/>
                </a:solidFill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Restrição Atacado ==&gt; 18/06 primeira reunião com time, tentando nova reuni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MQ JWT (problema com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r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x Event/Kafka –TBD            &amp;      Workshop MQ (MQ em container).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 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399BC71-F48A-62FF-1FC5-6A7E292DA2C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Foco para resolver o problema do MQ (lentidão)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4FC48CD-0570-6C40-9388-A9E6D017E6CB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15A4F92B-19C7-54EB-8772-0ECC278613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CD3C8E9F-9F64-81E6-1298-05E38F641E3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DD579F68-8DF3-EE8D-51A3-1A0A741843D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F7B7C05-639A-1C3E-E491-AB13FD479B1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3EE45CA7-D754-3378-89B9-6728A8248A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4C0109DF-10BC-8CD5-A0AB-400E2905828E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E517AE3D-5DC9-9850-2AD5-0F0398C0D69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35E8EBE-7F32-05FD-EA98-176291C8690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99B7968-F650-DCEA-A0A5-92332BA2518F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C9A50F7-5B64-AFC9-897B-691BBE38C98B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B1790FF-62AE-D7EE-E98F-700B520F3FFC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52088BD-E241-32F3-D401-EA5F267A951F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433A465-D5E8-03C4-2424-D9AA99A3E94C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40B18F6-8CEE-8FE5-1117-4A2A7F1768E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65A4A2F-D977-456C-8F51-3D4D1F112601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7F948486-CBF4-D512-D741-396F140163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E970C871-1F1D-4040-1D6A-601C0B5A1C3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6B007CB5-3506-80E7-E7DE-90D8A355050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DFCC19E-EB58-0E31-1FF8-83FC6A22749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6EA3331D-8170-4033-7FD7-8D708500151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7FCF2251-6B96-D512-69BE-5B4B2B282FE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4C406243-F2AD-E765-32EA-157C426A336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7154A0B3-DB4E-205A-658B-778B132A4CA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63B747F7-ED25-B395-0284-0F293DFF2F2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49" name="Picture 4" descr="IBM Cloud Pak for Integration | IBM CP4I">
            <a:extLst>
              <a:ext uri="{FF2B5EF4-FFF2-40B4-BE49-F238E27FC236}">
                <a16:creationId xmlns:a16="http://schemas.microsoft.com/office/drawing/2014/main" id="{ACED8FAD-0D89-9CDA-43B6-F5FF7371F0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05087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1D16351-6B0B-498B-5E97-98B201307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9F6A2957-7DD1-7B58-BC0A-BC2F296B4C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D64DAB-DCE8-CA85-DA6B-E4165DEF6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F0873C5-CEC5-25BB-3EA4-AB3E5F2539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90F218-7DA1-5DFA-D6B4-78160797F2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C9F8C2-6610-30D7-0171-0868FE2C71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473382-4E8C-74C0-54C9-B31A0B0B918F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AAB3893-BFD0-0C31-85E4-A26D707AB063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946977-0670-DC65-C382-6C5732031F4D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</a:t>
            </a:r>
            <a:r>
              <a:rPr lang="en-US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á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A4147A7-20AF-223E-AE91-B6C0861576F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1405472-B159-B47A-6BCB-5967E370792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7BB45F9-A9E9-1EC5-1BFE-4557676AAFBD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22199C5-833F-A9EF-DE0A-C65708F9151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89A1DAA-9708-8E53-02C1-BD09DFEEF799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5743B9C-4A3C-93AF-5E60-253EDB64D942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5FF8776-0410-62F1-C55C-183C1CE9085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mos o Sabiá - Tentando agenda com time Kafka do Itaú</a:t>
              </a:r>
              <a:endParaRPr lang="pt-BR" sz="8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715B622-648F-A11C-EB8F-4AE6538FFCA3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407F920C-9893-5B1D-9F9E-BAE0B835FE2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B11EB09C-CFAF-4692-EBE4-712833BECA1D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21AE546E-B422-E08C-BC85-3C666ECD7A3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6F60E426-1289-FE46-D5B7-169D2E991E0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933B1B03-4730-FC76-BA80-4E5E2C6A82A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9D056D62-B92E-2859-1F8C-58F68908449A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6904C30-2982-6A1E-F890-55AACD4FCC85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12B0B3B-07BB-BF52-FB99-65AB3CA1E9E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FB9CD26-72A0-EC24-21B3-7EB487BBAE3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770EB2B-E729-E3A8-0773-BA33467212B9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1EB7846-AF14-D3CB-9657-F2A8423D2D8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5AF40AB-C85E-DC84-088C-57F6164E4E0E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</a:t>
              </a:r>
              <a:endParaRPr lang="pt-BR" sz="8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D1C2D31-6EDA-F9C4-4D41-BC53CF761157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8DDE1F4-BABB-6CE9-1778-428C4D71E43D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mos o Alex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- Tentando agenda com time Kafka do Itaú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DDC91D6-19D7-AAD0-79A5-41D5D4D243D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4C01A060-1E6E-7CEC-3DEC-47A54C1089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3B91F5E0-E355-84BE-42A5-DC4DE5455E5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01CF6F8E-4EAC-D475-67F0-75195985B70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066EF944-A84D-FE26-C3FF-754BF7F93A3E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2EE46B07-12AB-D8CE-997A-55FB0BE35E3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A1E69D7E-B953-1CAF-5E1D-B463269DE762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AFD5BDC0-F7EF-1A6A-D53E-C7FC92CAE32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CFE04340-0490-F23A-1EE4-2BD1E8C51099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C6498BE4-3234-5E57-1F14-B2587D775BE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DFB589-D84B-A12D-92D1-2619810775BD}"/>
              </a:ext>
            </a:extLst>
          </p:cNvPr>
          <p:cNvGrpSpPr/>
          <p:nvPr/>
        </p:nvGrpSpPr>
        <p:grpSpPr>
          <a:xfrm>
            <a:off x="131121" y="104706"/>
            <a:ext cx="1164886" cy="1267044"/>
            <a:chOff x="638224" y="71121"/>
            <a:chExt cx="1164886" cy="12670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E4DDB46-213F-F41B-E5FF-ABFE3CAC1B49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Event Automation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2" descr="AWS Marketplace: IBM Event Automation (software)">
              <a:extLst>
                <a:ext uri="{FF2B5EF4-FFF2-40B4-BE49-F238E27FC236}">
                  <a16:creationId xmlns:a16="http://schemas.microsoft.com/office/drawing/2014/main" id="{0C47D69E-898D-4C93-B50B-1863B5506A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686" y="116090"/>
              <a:ext cx="914997" cy="861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3460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RG9HW4kSjWx.Jfb2HX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 - Blue Line Theme">
  <a:themeElements>
    <a:clrScheme name="Custom 2">
      <a:dk1>
        <a:srgbClr val="000000"/>
      </a:dk1>
      <a:lt1>
        <a:srgbClr val="FFFFFF"/>
      </a:lt1>
      <a:dk2>
        <a:srgbClr val="4155D5"/>
      </a:dk2>
      <a:lt2>
        <a:srgbClr val="EAE5EB"/>
      </a:lt2>
      <a:accent1>
        <a:srgbClr val="1C2C41"/>
      </a:accent1>
      <a:accent2>
        <a:srgbClr val="0055D9"/>
      </a:accent2>
      <a:accent3>
        <a:srgbClr val="096BFE"/>
      </a:accent3>
      <a:accent4>
        <a:srgbClr val="D0E2FF"/>
      </a:accent4>
      <a:accent5>
        <a:srgbClr val="BD95FF"/>
      </a:accent5>
      <a:accent6>
        <a:srgbClr val="A641FF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C Program Template" id="{D699AB58-0D9D-DD4F-AAB2-39CCF323C3BC}" vid="{B8D6E6D3-3172-C940-B17E-23233D8D37B5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Embed_LargeFormat" id="{9A8984FD-B3DF-A840-840F-71DD6FB2CD77}" vid="{2F72A950-76FC-244D-942E-1CB1729F9961}"/>
    </a:ext>
  </a:extLst>
</a:theme>
</file>

<file path=ppt/theme/theme4.xml><?xml version="1.0" encoding="utf-8"?>
<a:theme xmlns:a="http://schemas.openxmlformats.org/drawingml/2006/main" name="8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14</TotalTime>
  <Words>2315</Words>
  <Application>Microsoft Office PowerPoint</Application>
  <PresentationFormat>Widescreen</PresentationFormat>
  <Paragraphs>574</Paragraphs>
  <Slides>23</Slides>
  <Notes>4</Notes>
  <HiddenSlides>3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44" baseType="lpstr">
      <vt:lpstr>.AppleSystemUIFont</vt:lpstr>
      <vt:lpstr>Aptos</vt:lpstr>
      <vt:lpstr>Aptos Narrow</vt:lpstr>
      <vt:lpstr>Arial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Medium</vt:lpstr>
      <vt:lpstr>IBM Plex Sans Regular</vt:lpstr>
      <vt:lpstr>Lora</vt:lpstr>
      <vt:lpstr>Quattrocento Sans</vt:lpstr>
      <vt:lpstr>Times New Roman</vt:lpstr>
      <vt:lpstr>Wingdings</vt:lpstr>
      <vt:lpstr>Tema do Office</vt:lpstr>
      <vt:lpstr>2 - Blue Line Theme</vt:lpstr>
      <vt:lpstr>IBM 2019 Master template (light gray background)</vt:lpstr>
      <vt:lpstr>8_blk_background_2017</vt:lpstr>
      <vt:lpstr>think-cell Slide</vt:lpstr>
      <vt:lpstr>IBM   Resumo Executivo Contas Enterprise - Strategic</vt:lpstr>
      <vt:lpstr>PowerPoint Presentation</vt:lpstr>
      <vt:lpstr>A missão do Customer Success Manager…</vt:lpstr>
      <vt:lpstr>O que é o Customer Success na IBM? </vt:lpstr>
      <vt:lpstr>Exemplos de atividades do CSM            CSM example activities </vt:lpstr>
      <vt:lpstr>Atividades CP4x         Activities CP4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valiação do CSM &amp; Grupos de discussões           CSM evaluation &amp; Groups</vt:lpstr>
      <vt:lpstr>Referências Externas (Ex: Gartner)            External references 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CP4I  Grupo Casas Bahia S. A.</dc:title>
  <dc:creator>Rodrigo Spósito</dc:creator>
  <cp:lastModifiedBy>Alexandre Zanetti de Almeida</cp:lastModifiedBy>
  <cp:revision>409</cp:revision>
  <dcterms:created xsi:type="dcterms:W3CDTF">2023-12-08T17:08:25Z</dcterms:created>
  <dcterms:modified xsi:type="dcterms:W3CDTF">2025-09-05T12:25:41Z</dcterms:modified>
</cp:coreProperties>
</file>